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tmp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  <p:sldMasterId id="2147483665" r:id="rId2"/>
  </p:sldMasterIdLst>
  <p:notesMasterIdLst>
    <p:notesMasterId r:id="rId20"/>
  </p:notesMasterIdLst>
  <p:sldIdLst>
    <p:sldId id="259" r:id="rId3"/>
    <p:sldId id="355" r:id="rId4"/>
    <p:sldId id="356" r:id="rId5"/>
    <p:sldId id="353" r:id="rId6"/>
    <p:sldId id="317" r:id="rId7"/>
    <p:sldId id="357" r:id="rId8"/>
    <p:sldId id="277" r:id="rId9"/>
    <p:sldId id="278" r:id="rId10"/>
    <p:sldId id="292" r:id="rId11"/>
    <p:sldId id="354" r:id="rId12"/>
    <p:sldId id="324" r:id="rId13"/>
    <p:sldId id="299" r:id="rId14"/>
    <p:sldId id="358" r:id="rId15"/>
    <p:sldId id="359" r:id="rId16"/>
    <p:sldId id="306" r:id="rId17"/>
    <p:sldId id="274" r:id="rId18"/>
    <p:sldId id="266" r:id="rId19"/>
  </p:sldIdLst>
  <p:sldSz cx="9144000" cy="6858000" type="screen4x3"/>
  <p:notesSz cx="7010400" cy="92964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3" autoAdjust="0"/>
    <p:restoredTop sz="94280" autoAdjust="0"/>
  </p:normalViewPr>
  <p:slideViewPr>
    <p:cSldViewPr>
      <p:cViewPr varScale="1">
        <p:scale>
          <a:sx n="69" d="100"/>
          <a:sy n="69" d="100"/>
        </p:scale>
        <p:origin x="1356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Trib vs Arrcd (2)'!$B$5</c:f>
              <c:strCache>
                <c:ptCount val="1"/>
                <c:pt idx="0">
                  <c:v>Arrecadação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rib vs Arrcd (2)'!$C$3:$J$4</c:f>
              <c:strCache>
                <c:ptCount val="8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</c:strCache>
            </c:strRef>
          </c:cat>
          <c:val>
            <c:numRef>
              <c:f>'Trib vs Arrcd (2)'!$C$5:$J$5</c:f>
              <c:numCache>
                <c:formatCode>_(* #,##0.0_);_(* \(#,##0.0\);_(* "-"??_);_(@_)</c:formatCode>
                <c:ptCount val="8"/>
                <c:pt idx="0">
                  <c:v>10.291988826462092</c:v>
                </c:pt>
                <c:pt idx="1">
                  <c:v>11.163381557982277</c:v>
                </c:pt>
                <c:pt idx="2">
                  <c:v>12.92534550237405</c:v>
                </c:pt>
                <c:pt idx="3">
                  <c:v>13.998803510332699</c:v>
                </c:pt>
                <c:pt idx="4">
                  <c:v>13.87394939961381</c:v>
                </c:pt>
                <c:pt idx="5">
                  <c:v>13.563021660761322</c:v>
                </c:pt>
                <c:pt idx="6">
                  <c:v>12.377041062761919</c:v>
                </c:pt>
                <c:pt idx="7">
                  <c:v>11.4281007010053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5C-4E51-8616-9114FEE1F923}"/>
            </c:ext>
          </c:extLst>
        </c:ser>
        <c:ser>
          <c:idx val="1"/>
          <c:order val="1"/>
          <c:tx>
            <c:strRef>
              <c:f>'Trib vs Arrcd (2)'!$B$6</c:f>
              <c:strCache>
                <c:ptCount val="1"/>
                <c:pt idx="0">
                  <c:v>Evasão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rib vs Arrcd (2)'!$C$3:$J$4</c:f>
              <c:strCache>
                <c:ptCount val="8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</c:strCache>
            </c:strRef>
          </c:cat>
          <c:val>
            <c:numRef>
              <c:f>'Trib vs Arrcd (2)'!$C$6:$J$6</c:f>
              <c:numCache>
                <c:formatCode>_(* #,##0.0_);_(* \(#,##0.0\);_(* "-"??_);_(@_)</c:formatCode>
                <c:ptCount val="8"/>
                <c:pt idx="0">
                  <c:v>2.4</c:v>
                </c:pt>
                <c:pt idx="1">
                  <c:v>3.7</c:v>
                </c:pt>
                <c:pt idx="2">
                  <c:v>4.9000000000000004</c:v>
                </c:pt>
                <c:pt idx="3">
                  <c:v>6.5366724537645062</c:v>
                </c:pt>
                <c:pt idx="4">
                  <c:v>7.3920116110938476</c:v>
                </c:pt>
                <c:pt idx="5">
                  <c:v>8.9764645516190846</c:v>
                </c:pt>
                <c:pt idx="6">
                  <c:v>9.7327763478743954</c:v>
                </c:pt>
                <c:pt idx="7">
                  <c:v>11.47252251775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75C-4E51-8616-9114FEE1F923}"/>
            </c:ext>
          </c:extLst>
        </c:ser>
        <c:ser>
          <c:idx val="2"/>
          <c:order val="2"/>
          <c:tx>
            <c:strRef>
              <c:f>'Trib vs Arrcd (2)'!$B$7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rib vs Arrcd (2)'!$C$3:$J$4</c:f>
              <c:strCache>
                <c:ptCount val="8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</c:strCache>
            </c:strRef>
          </c:cat>
          <c:val>
            <c:numRef>
              <c:f>'Trib vs Arrcd (2)'!$C$7:$J$7</c:f>
              <c:numCache>
                <c:formatCode>_(* #,##0.0_);_(* \(#,##0.0\);_(* "-"??_);_(@_)</c:formatCode>
                <c:ptCount val="8"/>
                <c:pt idx="0">
                  <c:v>12.691988826462092</c:v>
                </c:pt>
                <c:pt idx="1">
                  <c:v>14.863381557982276</c:v>
                </c:pt>
                <c:pt idx="2">
                  <c:v>17.825345502374049</c:v>
                </c:pt>
                <c:pt idx="3">
                  <c:v>20.535475964097206</c:v>
                </c:pt>
                <c:pt idx="4">
                  <c:v>21.265961010707656</c:v>
                </c:pt>
                <c:pt idx="5">
                  <c:v>22.539486212380407</c:v>
                </c:pt>
                <c:pt idx="6">
                  <c:v>22.109817410636314</c:v>
                </c:pt>
                <c:pt idx="7">
                  <c:v>22.9006232187553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75C-4E51-8616-9114FEE1F9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94797008"/>
        <c:axId val="294797664"/>
      </c:barChart>
      <c:catAx>
        <c:axId val="294797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4797664"/>
        <c:crosses val="autoZero"/>
        <c:auto val="1"/>
        <c:lblAlgn val="ctr"/>
        <c:lblOffset val="100"/>
        <c:noMultiLvlLbl val="0"/>
      </c:catAx>
      <c:valAx>
        <c:axId val="294797664"/>
        <c:scaling>
          <c:orientation val="minMax"/>
        </c:scaling>
        <c:delete val="1"/>
        <c:axPos val="l"/>
        <c:numFmt formatCode="_(* #,##0.0_);_(* \(#,##0.0\);_(* &quot;-&quot;??_);_(@_)" sourceLinked="1"/>
        <c:majorTickMark val="none"/>
        <c:minorTickMark val="none"/>
        <c:tickLblPos val="nextTo"/>
        <c:crossAx val="2947970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359313210848644"/>
          <c:y val="0.33796296296296297"/>
          <c:w val="0.41147047244094487"/>
          <c:h val="8.933180227471565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330AD0C2-BBBB-4F36-B1C8-55A889B3B9C8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9D87416-8FE5-4805-9BBB-E3A5A2323B7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673741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49BB6-0B13-4344-89AE-3BCC6A1F6B7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73395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49BB6-0B13-4344-89AE-3BCC6A1F6B71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73395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3366281A-D6D6-4998-A068-2E0E2859F24C}" type="slidenum">
              <a:rPr lang="en-US" sz="1800" kern="0">
                <a:solidFill>
                  <a:sysClr val="windowText" lastClr="000000"/>
                </a:solidFill>
              </a:rPr>
              <a:pPr defTabSz="931774">
                <a:defRPr/>
              </a:pPr>
              <a:t>7</a:t>
            </a:fld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9980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66281A-D6D6-4998-A068-2E0E2859F24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3156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3366281A-D6D6-4998-A068-2E0E2859F24C}" type="slidenum">
              <a:rPr lang="en-US" sz="1800" kern="0">
                <a:solidFill>
                  <a:sysClr val="windowText" lastClr="000000"/>
                </a:solidFill>
              </a:rPr>
              <a:pPr defTabSz="931774">
                <a:defRPr/>
              </a:pPr>
              <a:t>9</a:t>
            </a:fld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24758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3366281A-D6D6-4998-A068-2E0E2859F24C}" type="slidenum">
              <a:rPr lang="en-US" sz="1800" kern="0">
                <a:solidFill>
                  <a:sysClr val="windowText" lastClr="000000"/>
                </a:solidFill>
              </a:rPr>
              <a:pPr defTabSz="931774">
                <a:defRPr/>
              </a:pPr>
              <a:t>10</a:t>
            </a:fld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1068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3366281A-D6D6-4998-A068-2E0E2859F24C}" type="slidenum">
              <a:rPr lang="en-US" sz="1800" kern="0">
                <a:solidFill>
                  <a:sysClr val="windowText" lastClr="000000"/>
                </a:solidFill>
              </a:rPr>
              <a:pPr defTabSz="931774">
                <a:defRPr/>
              </a:pPr>
              <a:t>11</a:t>
            </a:fld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2678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87416-8FE5-4805-9BBB-E3A5A2323B71}" type="slidenum">
              <a:rPr lang="pt-BR" smtClean="0"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088266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220788" y="708025"/>
            <a:ext cx="4725987" cy="35448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CA6FCB-5E5B-483A-83CB-77B4646F61E7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90881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87416-8FE5-4805-9BBB-E3A5A2323B71}" type="slidenum">
              <a:rPr lang="pt-BR" smtClean="0"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468557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5174E-65DE-4A39-8DB1-9106D2AA0521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CA4D73-13CE-4A17-B757-A3FF5A3E878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513892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5174E-65DE-4A39-8DB1-9106D2AA0521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CA4D73-13CE-4A17-B757-A3FF5A3E878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61532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5174E-65DE-4A39-8DB1-9106D2AA0521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CA4D73-13CE-4A17-B757-A3FF5A3E878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566422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bertu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2555776" y="3861048"/>
            <a:ext cx="5760640" cy="881439"/>
          </a:xfrm>
          <a:prstGeom prst="rect">
            <a:avLst/>
          </a:prstGeom>
        </p:spPr>
        <p:txBody>
          <a:bodyPr/>
          <a:lstStyle>
            <a:lvl1pPr algn="l">
              <a:defRPr sz="4000" b="1">
                <a:solidFill>
                  <a:srgbClr val="002277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Presentation slide – Click to add title</a:t>
            </a:r>
            <a:endParaRPr lang="en-GB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55776" y="4757661"/>
            <a:ext cx="5760640" cy="6875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rgbClr val="464646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lide - 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23549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85800" y="228600"/>
            <a:ext cx="6858000" cy="60811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pt-BR"/>
            </a:lvl1pPr>
          </a:lstStyle>
          <a:p>
            <a:pPr lvl="0"/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83568" y="1700808"/>
            <a:ext cx="8308032" cy="5004792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85800" y="764704"/>
            <a:ext cx="6910536" cy="5715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>
              <a:buNone/>
              <a:defRPr lang="pt-BR" sz="2000" b="1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072859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5508542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&amp; 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Title Text"/>
          <p:cNvSpPr txBox="1">
            <a:spLocks noGrp="1"/>
          </p:cNvSpPr>
          <p:nvPr>
            <p:ph type="title"/>
          </p:nvPr>
        </p:nvSpPr>
        <p:spPr>
          <a:xfrm>
            <a:off x="1812727" y="178593"/>
            <a:ext cx="5518547" cy="1714501"/>
          </a:xfrm>
          <a:prstGeom prst="rect">
            <a:avLst/>
          </a:prstGeom>
        </p:spPr>
        <p:txBody>
          <a:bodyPr lIns="71437" tIns="71437" rIns="71437" bIns="71437" anchor="ctr">
            <a:noAutofit/>
          </a:bodyPr>
          <a:lstStyle>
            <a:lvl1pPr algn="ctr" defTabSz="219075">
              <a:lnSpc>
                <a:spcPct val="100000"/>
              </a:lnSpc>
              <a:defRPr sz="4425" b="0">
                <a:solidFill>
                  <a:srgbClr val="000000"/>
                </a:solidFill>
                <a:latin typeface="+mn-lt"/>
                <a:ea typeface="+mn-ea"/>
                <a:cs typeface="+mn-cs"/>
                <a:sym typeface="Gill Sans"/>
              </a:defRPr>
            </a:lvl1pPr>
          </a:lstStyle>
          <a:p>
            <a:r>
              <a:t>Title Text</a:t>
            </a:r>
          </a:p>
        </p:txBody>
      </p:sp>
      <p:sp>
        <p:nvSpPr>
          <p:cNvPr id="271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1812727" y="1946672"/>
            <a:ext cx="5518547" cy="4018360"/>
          </a:xfrm>
          <a:prstGeom prst="rect">
            <a:avLst/>
          </a:prstGeom>
        </p:spPr>
        <p:txBody>
          <a:bodyPr lIns="71437" tIns="71437" rIns="71437" bIns="71437" anchor="ctr"/>
          <a:lstStyle>
            <a:lvl1pPr marL="415018" indent="-295955" defTabSz="219075">
              <a:lnSpc>
                <a:spcPct val="100000"/>
              </a:lnSpc>
              <a:spcBef>
                <a:spcPts val="900"/>
              </a:spcBef>
              <a:buSzPct val="171000"/>
              <a:buChar char="•"/>
              <a:defRPr sz="2175" spc="0">
                <a:solidFill>
                  <a:srgbClr val="000000"/>
                </a:solidFill>
                <a:latin typeface="+mn-lt"/>
                <a:ea typeface="+mn-ea"/>
                <a:cs typeface="+mn-cs"/>
                <a:sym typeface="Gill Sans"/>
              </a:defRPr>
            </a:lvl1pPr>
            <a:lvl2pPr marL="581705" indent="-295955" defTabSz="219075">
              <a:lnSpc>
                <a:spcPct val="100000"/>
              </a:lnSpc>
              <a:spcBef>
                <a:spcPts val="900"/>
              </a:spcBef>
              <a:buSzPct val="171000"/>
              <a:buChar char="•"/>
              <a:defRPr sz="2175" spc="0">
                <a:solidFill>
                  <a:srgbClr val="000000"/>
                </a:solidFill>
                <a:latin typeface="+mn-lt"/>
                <a:ea typeface="+mn-ea"/>
                <a:cs typeface="+mn-cs"/>
                <a:sym typeface="Gill Sans"/>
              </a:defRPr>
            </a:lvl2pPr>
            <a:lvl3pPr marL="748393" indent="-295955" defTabSz="219075">
              <a:lnSpc>
                <a:spcPct val="100000"/>
              </a:lnSpc>
              <a:spcBef>
                <a:spcPts val="900"/>
              </a:spcBef>
              <a:buSzPct val="171000"/>
              <a:buChar char="•"/>
              <a:defRPr sz="2175" spc="0">
                <a:solidFill>
                  <a:srgbClr val="000000"/>
                </a:solidFill>
                <a:latin typeface="+mn-lt"/>
                <a:ea typeface="+mn-ea"/>
                <a:cs typeface="+mn-cs"/>
                <a:sym typeface="Gill Sans"/>
              </a:defRPr>
            </a:lvl3pPr>
            <a:lvl4pPr marL="915080" indent="-295955" defTabSz="219075">
              <a:lnSpc>
                <a:spcPct val="100000"/>
              </a:lnSpc>
              <a:spcBef>
                <a:spcPts val="900"/>
              </a:spcBef>
              <a:buSzPct val="171000"/>
              <a:buChar char="•"/>
              <a:defRPr sz="2175" spc="0">
                <a:solidFill>
                  <a:srgbClr val="000000"/>
                </a:solidFill>
                <a:latin typeface="+mn-lt"/>
                <a:ea typeface="+mn-ea"/>
                <a:cs typeface="+mn-cs"/>
                <a:sym typeface="Gill Sans"/>
              </a:defRPr>
            </a:lvl4pPr>
            <a:lvl5pPr marL="1081768" indent="-295955" defTabSz="219075">
              <a:lnSpc>
                <a:spcPct val="100000"/>
              </a:lnSpc>
              <a:spcBef>
                <a:spcPts val="900"/>
              </a:spcBef>
              <a:buSzPct val="171000"/>
              <a:buChar char="•"/>
              <a:defRPr sz="2175" spc="0">
                <a:solidFill>
                  <a:srgbClr val="000000"/>
                </a:solidFill>
                <a:latin typeface="+mn-lt"/>
                <a:ea typeface="+mn-ea"/>
                <a:cs typeface="+mn-cs"/>
                <a:sym typeface="Gill Sans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7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4482331" y="6509742"/>
            <a:ext cx="172641" cy="249238"/>
          </a:xfrm>
          <a:prstGeom prst="rect">
            <a:avLst/>
          </a:prstGeom>
        </p:spPr>
        <p:txBody>
          <a:bodyPr lIns="71437" tIns="71437" rIns="71437" bIns="71437" anchor="t"/>
          <a:lstStyle>
            <a:lvl1pPr algn="ctr" defTabSz="219075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Gill Sans"/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69358269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1F840-26D6-4A51-9F34-71B449BA9C0B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316D9-D9E7-44B1-8AAF-23E2F026E2D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494034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1F840-26D6-4A51-9F34-71B449BA9C0B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316D9-D9E7-44B1-8AAF-23E2F026E2D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99886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1F840-26D6-4A51-9F34-71B449BA9C0B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316D9-D9E7-44B1-8AAF-23E2F026E2D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661102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1F840-26D6-4A51-9F34-71B449BA9C0B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316D9-D9E7-44B1-8AAF-23E2F026E2D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95001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5174E-65DE-4A39-8DB1-9106D2AA0521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CA4D73-13CE-4A17-B757-A3FF5A3E878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219602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1F840-26D6-4A51-9F34-71B449BA9C0B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316D9-D9E7-44B1-8AAF-23E2F026E2D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22882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1F840-26D6-4A51-9F34-71B449BA9C0B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316D9-D9E7-44B1-8AAF-23E2F026E2D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39954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1F840-26D6-4A51-9F34-71B449BA9C0B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316D9-D9E7-44B1-8AAF-23E2F026E2D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144173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1F840-26D6-4A51-9F34-71B449BA9C0B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316D9-D9E7-44B1-8AAF-23E2F026E2D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217445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1F840-26D6-4A51-9F34-71B449BA9C0B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316D9-D9E7-44B1-8AAF-23E2F026E2D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363991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1F840-26D6-4A51-9F34-71B449BA9C0B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316D9-D9E7-44B1-8AAF-23E2F026E2D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778632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1F840-26D6-4A51-9F34-71B449BA9C0B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316D9-D9E7-44B1-8AAF-23E2F026E2D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192790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5174E-65DE-4A39-8DB1-9106D2AA0521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CA4D73-13CE-4A17-B757-A3FF5A3E878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685409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5174E-65DE-4A39-8DB1-9106D2AA0521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CA4D73-13CE-4A17-B757-A3FF5A3E878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156343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5174E-65DE-4A39-8DB1-9106D2AA0521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CA4D73-13CE-4A17-B757-A3FF5A3E878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864343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5174E-65DE-4A39-8DB1-9106D2AA0521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CA4D73-13CE-4A17-B757-A3FF5A3E878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729377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5174E-65DE-4A39-8DB1-9106D2AA0521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CA4D73-13CE-4A17-B757-A3FF5A3E878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879544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5174E-65DE-4A39-8DB1-9106D2AA0521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CA4D73-13CE-4A17-B757-A3FF5A3E878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81714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5174E-65DE-4A39-8DB1-9106D2AA0521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CA4D73-13CE-4A17-B757-A3FF5A3E878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829773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25174E-65DE-4A39-8DB1-9106D2AA0521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A4D73-13CE-4A17-B757-A3FF5A3E878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12775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3" r:id="rId14"/>
    <p:sldLayoutId id="2147483664" r:id="rId1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31F840-26D6-4A51-9F34-71B449BA9C0B}" type="datetimeFigureOut">
              <a:rPr lang="pt-BR" smtClean="0"/>
              <a:t>21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1316D9-D9E7-44B1-8AAF-23E2F026E2D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15711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9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microsoft.com/office/2007/relationships/hdphoto" Target="../media/hdphoto2.wdp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image" Target="../media/image44.tmp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1.globo.com/sc/santa-catarina/noticia/reportagem-revela-como-contrabando-de-cigarro-financia-o-trafico-de-drogas-e-armas.ghtml" TargetMode="External"/><Relationship Id="rId5" Type="http://schemas.openxmlformats.org/officeDocument/2006/relationships/image" Target="../media/image47.tmp"/><Relationship Id="rId4" Type="http://schemas.openxmlformats.org/officeDocument/2006/relationships/hyperlink" Target="http://www.campograndenews.com.br/cidades/interior/policial-e-membros-do-pcc-cuidavam-de-carga-de-cigarro-na-fronteira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jpeg"/><Relationship Id="rId13" Type="http://schemas.openxmlformats.org/officeDocument/2006/relationships/image" Target="../media/image68.pn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12" Type="http://schemas.microsoft.com/office/2007/relationships/hdphoto" Target="../media/hdphoto3.wdp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2.png"/><Relationship Id="rId11" Type="http://schemas.openxmlformats.org/officeDocument/2006/relationships/image" Target="../media/image67.png"/><Relationship Id="rId5" Type="http://schemas.openxmlformats.org/officeDocument/2006/relationships/image" Target="../media/image61.png"/><Relationship Id="rId10" Type="http://schemas.openxmlformats.org/officeDocument/2006/relationships/image" Target="../media/image66.png"/><Relationship Id="rId4" Type="http://schemas.openxmlformats.org/officeDocument/2006/relationships/image" Target="../media/image60.png"/><Relationship Id="rId9" Type="http://schemas.openxmlformats.org/officeDocument/2006/relationships/image" Target="../media/image65.png"/><Relationship Id="rId14" Type="http://schemas.openxmlformats.org/officeDocument/2006/relationships/image" Target="../media/image69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m.br/url?url=http://www.bbc.co.uk/news/business-19264245&amp;rct=j&amp;frm=1&amp;q=&amp;esrc=s&amp;sa=U&amp;ei=tYZ0VNztI7i1sQSH-YCQDg&amp;ved=0CCQQ9QEwBw&amp;usg=AFQjCNH1YRj7YMchsAlwOT2o4_eEeAqXmA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hyperlink" Target="http://www.google.com.br/url?url=http://www.freetobacco.info/world-tobacco-news/summit-on-illegal-tobacco-trade/&amp;rct=j&amp;frm=1&amp;q=&amp;esrc=s&amp;sa=U&amp;ei=_4Z0VO2eHO6asQS2qYDoDg&amp;ved=0CDgQ9QEwEQ&amp;usg=AFQjCNGcycpPnIHw2W0EiRRjwrvjRUsUzA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jpeg"/><Relationship Id="rId18" Type="http://schemas.openxmlformats.org/officeDocument/2006/relationships/image" Target="../media/image21.jpeg"/><Relationship Id="rId3" Type="http://schemas.openxmlformats.org/officeDocument/2006/relationships/image" Target="../media/image6.png"/><Relationship Id="rId7" Type="http://schemas.openxmlformats.org/officeDocument/2006/relationships/image" Target="../media/image10.jpeg"/><Relationship Id="rId12" Type="http://schemas.openxmlformats.org/officeDocument/2006/relationships/image" Target="../media/image15.jpeg"/><Relationship Id="rId17" Type="http://schemas.openxmlformats.org/officeDocument/2006/relationships/image" Target="../media/image20.jpeg"/><Relationship Id="rId2" Type="http://schemas.openxmlformats.org/officeDocument/2006/relationships/image" Target="../media/image5.jpeg"/><Relationship Id="rId16" Type="http://schemas.openxmlformats.org/officeDocument/2006/relationships/image" Target="../media/image19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9.png"/><Relationship Id="rId11" Type="http://schemas.openxmlformats.org/officeDocument/2006/relationships/image" Target="../media/image14.jpeg"/><Relationship Id="rId5" Type="http://schemas.openxmlformats.org/officeDocument/2006/relationships/image" Target="../media/image8.jpeg"/><Relationship Id="rId15" Type="http://schemas.openxmlformats.org/officeDocument/2006/relationships/image" Target="../media/image18.png"/><Relationship Id="rId10" Type="http://schemas.openxmlformats.org/officeDocument/2006/relationships/image" Target="../media/image13.jpeg"/><Relationship Id="rId19" Type="http://schemas.openxmlformats.org/officeDocument/2006/relationships/image" Target="../media/image22.jpe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31.jpeg"/><Relationship Id="rId18" Type="http://schemas.openxmlformats.org/officeDocument/2006/relationships/image" Target="../media/image36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6.png"/><Relationship Id="rId12" Type="http://schemas.openxmlformats.org/officeDocument/2006/relationships/image" Target="../media/image30.jpeg"/><Relationship Id="rId17" Type="http://schemas.openxmlformats.org/officeDocument/2006/relationships/image" Target="../media/image35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4.jpeg"/><Relationship Id="rId20" Type="http://schemas.openxmlformats.org/officeDocument/2006/relationships/image" Target="../media/image38.jpeg"/><Relationship Id="rId1" Type="http://schemas.openxmlformats.org/officeDocument/2006/relationships/vmlDrawing" Target="../drawings/vmlDrawing1.vml"/><Relationship Id="rId6" Type="http://schemas.openxmlformats.org/officeDocument/2006/relationships/image" Target="../media/image25.jpg"/><Relationship Id="rId11" Type="http://schemas.openxmlformats.org/officeDocument/2006/relationships/image" Target="../media/image29.jpeg"/><Relationship Id="rId5" Type="http://schemas.openxmlformats.org/officeDocument/2006/relationships/image" Target="../media/image24.png"/><Relationship Id="rId15" Type="http://schemas.openxmlformats.org/officeDocument/2006/relationships/image" Target="../media/image33.png"/><Relationship Id="rId10" Type="http://schemas.openxmlformats.org/officeDocument/2006/relationships/image" Target="../media/image28.jpeg"/><Relationship Id="rId19" Type="http://schemas.openxmlformats.org/officeDocument/2006/relationships/image" Target="../media/image37.jpeg"/><Relationship Id="rId4" Type="http://schemas.openxmlformats.org/officeDocument/2006/relationships/oleObject" Target="../embeddings/oleObject1.bin"/><Relationship Id="rId9" Type="http://schemas.openxmlformats.org/officeDocument/2006/relationships/image" Target="../media/image27.png"/><Relationship Id="rId14" Type="http://schemas.openxmlformats.org/officeDocument/2006/relationships/image" Target="../media/image32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microsoft.com/office/2007/relationships/hdphoto" Target="../media/hdphoto1.wdp"/><Relationship Id="rId5" Type="http://schemas.openxmlformats.org/officeDocument/2006/relationships/image" Target="../media/image26.png"/><Relationship Id="rId10" Type="http://schemas.openxmlformats.org/officeDocument/2006/relationships/image" Target="../media/image43.png"/><Relationship Id="rId4" Type="http://schemas.openxmlformats.org/officeDocument/2006/relationships/image" Target="../media/image39.png"/><Relationship Id="rId9" Type="http://schemas.openxmlformats.org/officeDocument/2006/relationships/image" Target="../media/image4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://abcf.org.br/editorial-quem-compra-contrabando-prejudica-o-pais-e-financia-o-pcc/" TargetMode="External"/><Relationship Id="rId3" Type="http://schemas.openxmlformats.org/officeDocument/2006/relationships/image" Target="../media/image44.tmp"/><Relationship Id="rId7" Type="http://schemas.openxmlformats.org/officeDocument/2006/relationships/image" Target="../media/image46.tmp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noticias.r7.com/cidades/faccoes-criminosas-assumem-contrabando-na-fronteira-e-brasil-tem-prejuizo-de-r-115-bilhoes-29082016" TargetMode="External"/><Relationship Id="rId11" Type="http://schemas.openxmlformats.org/officeDocument/2006/relationships/image" Target="../media/image48.png"/><Relationship Id="rId5" Type="http://schemas.openxmlformats.org/officeDocument/2006/relationships/image" Target="../media/image45.tmp"/><Relationship Id="rId10" Type="http://schemas.openxmlformats.org/officeDocument/2006/relationships/hyperlink" Target="https://g1.globo.com/sc/santa-catarina/noticia/reportagem-revela-como-contrabando-de-cigarro-financia-o-trafico-de-drogas-e-armas.ghtml" TargetMode="External"/><Relationship Id="rId4" Type="http://schemas.openxmlformats.org/officeDocument/2006/relationships/hyperlink" Target="http://www.campograndenews.com.br/cidades/interior/policial-e-membros-do-pcc-cuidavam-de-carga-de-cigarro-na-fronteira" TargetMode="External"/><Relationship Id="rId9" Type="http://schemas.openxmlformats.org/officeDocument/2006/relationships/image" Target="../media/image47.tm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0" y="0"/>
            <a:ext cx="9144000" cy="66720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Arial Black" panose="020B0A04020102020204" pitchFamily="34" charset="0"/>
            </a:endParaRPr>
          </a:p>
        </p:txBody>
      </p:sp>
      <p:pic>
        <p:nvPicPr>
          <p:cNvPr id="4" name="Picture 2" descr="C:\Users\COMUNI~1\AppData\Local\Temp\Rar$DIa0.123\etco_pattern_arte_final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672015"/>
            <a:ext cx="9144000" cy="213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ítulo 1"/>
          <p:cNvSpPr txBox="1">
            <a:spLocks/>
          </p:cNvSpPr>
          <p:nvPr/>
        </p:nvSpPr>
        <p:spPr>
          <a:xfrm>
            <a:off x="719832" y="3169791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b="1" kern="1200">
                <a:solidFill>
                  <a:srgbClr val="002277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pt-BR" sz="3200" dirty="0">
                <a:solidFill>
                  <a:schemeClr val="tx2">
                    <a:lumMod val="75000"/>
                  </a:schemeClr>
                </a:solidFill>
                <a:latin typeface="Arial Black" panose="020B0A04020102020204" pitchFamily="34" charset="0"/>
              </a:rPr>
              <a:t>PLS 769/2015 e o impacto no mercado ilegal de cigarros</a:t>
            </a:r>
          </a:p>
          <a:p>
            <a:pPr algn="ctr"/>
            <a:endParaRPr lang="pt-BR" sz="3200" dirty="0">
              <a:solidFill>
                <a:schemeClr val="tx2">
                  <a:lumMod val="75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1371600" y="4268688"/>
            <a:ext cx="6400800" cy="5284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rgbClr val="46464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dirty="0">
                <a:latin typeface="Arial Black" panose="020B0A04020102020204" pitchFamily="34" charset="0"/>
              </a:rPr>
              <a:t>Novembro de 2018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7960" y="1556792"/>
            <a:ext cx="3962400" cy="1349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649589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DD5CA199-67E1-4817-A55E-827720DB7483}"/>
              </a:ext>
            </a:extLst>
          </p:cNvPr>
          <p:cNvSpPr/>
          <p:nvPr/>
        </p:nvSpPr>
        <p:spPr>
          <a:xfrm>
            <a:off x="179511" y="116632"/>
            <a:ext cx="864096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75"/>
              </a:spcBef>
            </a:pPr>
            <a:r>
              <a:rPr lang="en-GB" sz="2800" b="1" i="1" dirty="0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Um </a:t>
            </a:r>
            <a:r>
              <a:rPr lang="en-GB" sz="2800" b="1" i="1" dirty="0" err="1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exemplo</a:t>
            </a:r>
            <a:r>
              <a:rPr lang="en-GB" sz="2800" b="1" i="1" dirty="0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 do que </a:t>
            </a:r>
            <a:r>
              <a:rPr lang="en-GB" sz="2800" b="1" i="1" dirty="0" err="1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vem</a:t>
            </a:r>
            <a:r>
              <a:rPr lang="en-GB" sz="2800" b="1" i="1" dirty="0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 </a:t>
            </a:r>
            <a:r>
              <a:rPr lang="en-GB" sz="2800" b="1" i="1" dirty="0" err="1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acontecendo</a:t>
            </a:r>
            <a:r>
              <a:rPr lang="en-GB" sz="2800" b="1" i="1" dirty="0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 no Rio de Janeiro…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3BA538D-4045-4A2A-BECF-112E367415D5}"/>
              </a:ext>
            </a:extLst>
          </p:cNvPr>
          <p:cNvSpPr/>
          <p:nvPr/>
        </p:nvSpPr>
        <p:spPr>
          <a:xfrm>
            <a:off x="206015" y="1100488"/>
            <a:ext cx="8656841" cy="5568871"/>
          </a:xfrm>
          <a:prstGeom prst="rect">
            <a:avLst/>
          </a:prstGeom>
          <a:blipFill dpi="0" rotWithShape="1">
            <a:blip r:embed="rId3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D285A9-9308-4E9F-9DBB-6B695575E0B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5063"/>
          <a:stretch/>
        </p:blipFill>
        <p:spPr>
          <a:xfrm rot="20781789">
            <a:off x="492191" y="1623936"/>
            <a:ext cx="3230189" cy="181698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9FA0094-2E52-4B25-B452-0330AB0E6D2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1168669">
            <a:off x="4281768" y="1973801"/>
            <a:ext cx="4448881" cy="136710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C2FCF9B-F4A7-4FCE-96C1-CEEA0B5F191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51169"/>
          <a:stretch/>
        </p:blipFill>
        <p:spPr>
          <a:xfrm rot="20395646">
            <a:off x="201680" y="4301266"/>
            <a:ext cx="5874632" cy="96690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2C8E43E-3697-4AC6-B892-A0165721934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330092">
            <a:off x="4594618" y="4978349"/>
            <a:ext cx="4109421" cy="145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6664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creen Clipping">
            <a:extLst>
              <a:ext uri="{FF2B5EF4-FFF2-40B4-BE49-F238E27FC236}">
                <a16:creationId xmlns:a16="http://schemas.microsoft.com/office/drawing/2014/main" id="{646CC7F7-5361-419B-B9A1-25A6E88E2E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5998" y="5351113"/>
            <a:ext cx="3896528" cy="711542"/>
          </a:xfrm>
          <a:prstGeom prst="rect">
            <a:avLst/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AB49854-2D6D-4923-AF24-D13420471FE4}"/>
              </a:ext>
            </a:extLst>
          </p:cNvPr>
          <p:cNvSpPr/>
          <p:nvPr/>
        </p:nvSpPr>
        <p:spPr>
          <a:xfrm>
            <a:off x="4909083" y="6073551"/>
            <a:ext cx="391344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>
                <a:latin typeface="Arial Black" panose="020B0A04020102020204" pitchFamily="34" charset="0"/>
                <a:hlinkClick r:id="rId4"/>
              </a:rPr>
              <a:t>http://www.campograndenews.com.br/cidades/interior/policial-e-membros-do-pcc-cuidavam-de-carga-de-cigarro-na-fronteira</a:t>
            </a:r>
            <a:r>
              <a:rPr lang="en-US" sz="600" dirty="0">
                <a:latin typeface="Arial Black" panose="020B0A04020102020204" pitchFamily="34" charset="0"/>
              </a:rPr>
              <a:t> 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ED5624B-82CA-402F-ADC2-90B8058D5138}"/>
              </a:ext>
            </a:extLst>
          </p:cNvPr>
          <p:cNvSpPr/>
          <p:nvPr/>
        </p:nvSpPr>
        <p:spPr>
          <a:xfrm>
            <a:off x="7042647" y="5394259"/>
            <a:ext cx="524492" cy="35486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 Black" panose="020B0A04020102020204" pitchFamily="34" charset="0"/>
            </a:endParaRPr>
          </a:p>
        </p:txBody>
      </p:sp>
      <p:sp>
        <p:nvSpPr>
          <p:cNvPr id="17" name="CaixaDeTexto 6">
            <a:extLst>
              <a:ext uri="{FF2B5EF4-FFF2-40B4-BE49-F238E27FC236}">
                <a16:creationId xmlns:a16="http://schemas.microsoft.com/office/drawing/2014/main" id="{20E9615C-C5CF-4CA4-A18A-FD9663C3B6F0}"/>
              </a:ext>
            </a:extLst>
          </p:cNvPr>
          <p:cNvSpPr txBox="1"/>
          <p:nvPr/>
        </p:nvSpPr>
        <p:spPr>
          <a:xfrm>
            <a:off x="411425" y="5041546"/>
            <a:ext cx="36565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spcBef>
                <a:spcPts val="375"/>
              </a:spcBef>
              <a:defRPr sz="2800" b="1" i="1">
                <a:solidFill>
                  <a:srgbClr val="002060"/>
                </a:solidFill>
                <a:latin typeface="+mj-lt"/>
                <a:cs typeface="Segoe UI Light" panose="020B0502040204020203" pitchFamily="34" charset="0"/>
              </a:defRPr>
            </a:lvl1pPr>
          </a:lstStyle>
          <a:p>
            <a:r>
              <a:rPr lang="en-US" sz="1800" dirty="0" err="1">
                <a:latin typeface="Arial Black" panose="020B0A04020102020204" pitchFamily="34" charset="0"/>
              </a:rPr>
              <a:t>Contrabando</a:t>
            </a:r>
            <a:r>
              <a:rPr lang="en-US" sz="1800" dirty="0">
                <a:latin typeface="Arial Black" panose="020B0A04020102020204" pitchFamily="34" charset="0"/>
              </a:rPr>
              <a:t> </a:t>
            </a:r>
            <a:r>
              <a:rPr lang="en-US" sz="1800" dirty="0" err="1">
                <a:latin typeface="Arial Black" panose="020B0A04020102020204" pitchFamily="34" charset="0"/>
              </a:rPr>
              <a:t>financia</a:t>
            </a:r>
            <a:r>
              <a:rPr lang="en-US" sz="1800" dirty="0">
                <a:latin typeface="Arial Black" panose="020B0A04020102020204" pitchFamily="34" charset="0"/>
              </a:rPr>
              <a:t> o crime </a:t>
            </a:r>
            <a:r>
              <a:rPr lang="en-US" sz="1800" dirty="0" err="1">
                <a:latin typeface="Arial Black" panose="020B0A04020102020204" pitchFamily="34" charset="0"/>
              </a:rPr>
              <a:t>organizado</a:t>
            </a:r>
            <a:endParaRPr lang="en-US" sz="1800" dirty="0">
              <a:latin typeface="Arial Black" panose="020B0A04020102020204" pitchFamily="34" charset="0"/>
            </a:endParaRPr>
          </a:p>
        </p:txBody>
      </p:sp>
      <p:pic>
        <p:nvPicPr>
          <p:cNvPr id="3" name="Picture 2" descr="Screen Clipping">
            <a:extLst>
              <a:ext uri="{FF2B5EF4-FFF2-40B4-BE49-F238E27FC236}">
                <a16:creationId xmlns:a16="http://schemas.microsoft.com/office/drawing/2014/main" id="{DEB15CB8-847F-4686-B631-11042A3DCD3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7677" y="4327410"/>
            <a:ext cx="4246811" cy="555840"/>
          </a:xfrm>
          <a:prstGeom prst="rect">
            <a:avLst/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5DD6731-9508-432D-997E-7E911EF3E7A2}"/>
              </a:ext>
            </a:extLst>
          </p:cNvPr>
          <p:cNvSpPr/>
          <p:nvPr/>
        </p:nvSpPr>
        <p:spPr>
          <a:xfrm>
            <a:off x="4717676" y="4925962"/>
            <a:ext cx="424681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>
                <a:latin typeface="Arial Black" panose="020B0A04020102020204" pitchFamily="34" charset="0"/>
                <a:hlinkClick r:id="rId6"/>
              </a:rPr>
              <a:t>https://g1.globo.com/sc/santa-catarina/noticia/reportagem-revela-como-contrabando-de-cigarro-financia-o-trafico-de-drogas-e-armas.ghtml</a:t>
            </a:r>
            <a:r>
              <a:rPr lang="en-US" sz="600" dirty="0">
                <a:latin typeface="Arial Black" panose="020B0A04020102020204" pitchFamily="34" charset="0"/>
              </a:rPr>
              <a:t> </a:t>
            </a:r>
          </a:p>
        </p:txBody>
      </p:sp>
      <p:sp>
        <p:nvSpPr>
          <p:cNvPr id="16" name="CaixaDeTexto 6">
            <a:extLst>
              <a:ext uri="{FF2B5EF4-FFF2-40B4-BE49-F238E27FC236}">
                <a16:creationId xmlns:a16="http://schemas.microsoft.com/office/drawing/2014/main" id="{BE92B0B1-6BBB-4844-A555-1720C5463F9F}"/>
              </a:ext>
            </a:extLst>
          </p:cNvPr>
          <p:cNvSpPr txBox="1"/>
          <p:nvPr/>
        </p:nvSpPr>
        <p:spPr>
          <a:xfrm>
            <a:off x="412863" y="3025422"/>
            <a:ext cx="4474895" cy="64633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685800">
              <a:defRPr/>
            </a:pPr>
            <a:r>
              <a:rPr lang="en-US" b="1" i="1" dirty="0" err="1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Receita</a:t>
            </a:r>
            <a:r>
              <a:rPr lang="en-US" b="1" i="1" dirty="0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 </a:t>
            </a:r>
            <a:r>
              <a:rPr lang="en-US" b="1" i="1" dirty="0" err="1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tributária</a:t>
            </a:r>
            <a:r>
              <a:rPr lang="en-US" b="1" i="1" dirty="0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 do </a:t>
            </a:r>
            <a:r>
              <a:rPr lang="en-US" b="1" i="1" dirty="0" err="1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governo</a:t>
            </a:r>
            <a:r>
              <a:rPr lang="en-US" b="1" i="1" dirty="0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 é </a:t>
            </a:r>
            <a:r>
              <a:rPr lang="en-US" b="1" i="1" dirty="0" err="1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afetada</a:t>
            </a:r>
            <a:endParaRPr lang="en-US" b="1" i="1" dirty="0">
              <a:solidFill>
                <a:srgbClr val="002060"/>
              </a:solidFill>
              <a:latin typeface="Arial Black" panose="020B0A04020102020204" pitchFamily="34" charset="0"/>
              <a:cs typeface="Segoe UI Light" panose="020B0502040204020203" pitchFamily="34" charset="0"/>
            </a:endParaRPr>
          </a:p>
        </p:txBody>
      </p:sp>
      <p:sp>
        <p:nvSpPr>
          <p:cNvPr id="22" name="CaixaDeTexto 6">
            <a:extLst>
              <a:ext uri="{FF2B5EF4-FFF2-40B4-BE49-F238E27FC236}">
                <a16:creationId xmlns:a16="http://schemas.microsoft.com/office/drawing/2014/main" id="{2B4F3F1E-A4AD-4DD8-8059-EE01981851DA}"/>
              </a:ext>
            </a:extLst>
          </p:cNvPr>
          <p:cNvSpPr txBox="1"/>
          <p:nvPr/>
        </p:nvSpPr>
        <p:spPr>
          <a:xfrm>
            <a:off x="377636" y="1054477"/>
            <a:ext cx="3834324" cy="64633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685800">
              <a:defRPr/>
            </a:pPr>
            <a:r>
              <a:rPr lang="en-US" b="1" i="1" dirty="0" err="1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Consumo</a:t>
            </a:r>
            <a:r>
              <a:rPr lang="en-US" b="1" i="1" dirty="0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 de </a:t>
            </a:r>
            <a:r>
              <a:rPr lang="en-US" b="1" i="1" dirty="0" err="1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produtos</a:t>
            </a:r>
            <a:r>
              <a:rPr lang="en-US" b="1" i="1" dirty="0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 </a:t>
            </a:r>
            <a:r>
              <a:rPr lang="en-US" b="1" i="1" dirty="0" err="1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sem</a:t>
            </a:r>
            <a:r>
              <a:rPr lang="en-US" b="1" i="1" dirty="0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 </a:t>
            </a:r>
            <a:r>
              <a:rPr lang="en-US" b="1" i="1" dirty="0" err="1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controle</a:t>
            </a:r>
            <a:r>
              <a:rPr lang="en-US" b="1" i="1" dirty="0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 </a:t>
            </a:r>
            <a:r>
              <a:rPr lang="en-US" b="1" i="1" dirty="0" err="1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sanitário</a:t>
            </a:r>
            <a:endParaRPr lang="en-US" b="1" i="1" dirty="0">
              <a:solidFill>
                <a:srgbClr val="002060"/>
              </a:solidFill>
              <a:latin typeface="Arial Black" panose="020B0A04020102020204" pitchFamily="34" charset="0"/>
              <a:cs typeface="Segoe UI Light" panose="020B0502040204020203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D5CA199-67E1-4817-A55E-827720DB7483}"/>
              </a:ext>
            </a:extLst>
          </p:cNvPr>
          <p:cNvSpPr/>
          <p:nvPr/>
        </p:nvSpPr>
        <p:spPr>
          <a:xfrm>
            <a:off x="179511" y="116632"/>
            <a:ext cx="86409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75"/>
              </a:spcBef>
            </a:pPr>
            <a:r>
              <a:rPr lang="en-GB" sz="2400" b="1" i="1" dirty="0" err="1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Contrabando</a:t>
            </a:r>
            <a:r>
              <a:rPr lang="en-GB" sz="2400" b="1" i="1" dirty="0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 de </a:t>
            </a:r>
            <a:r>
              <a:rPr lang="en-GB" sz="2400" b="1" i="1" dirty="0" err="1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cigarros</a:t>
            </a:r>
            <a:r>
              <a:rPr lang="en-GB" sz="2400" b="1" i="1" dirty="0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 – </a:t>
            </a:r>
            <a:r>
              <a:rPr lang="en-GB" sz="2400" b="1" i="1" dirty="0" err="1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consequências</a:t>
            </a:r>
            <a:r>
              <a:rPr lang="en-GB" sz="2400" b="1" i="1" dirty="0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 </a:t>
            </a:r>
          </a:p>
        </p:txBody>
      </p:sp>
      <p:pic>
        <p:nvPicPr>
          <p:cNvPr id="24" name="Picture 2">
            <a:extLst>
              <a:ext uri="{FF2B5EF4-FFF2-40B4-BE49-F238E27FC236}">
                <a16:creationId xmlns:a16="http://schemas.microsoft.com/office/drawing/2014/main" id="{01A05F54-EFAE-4FE6-BE61-036270F6FB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24698" y="908720"/>
            <a:ext cx="4317658" cy="83650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8">
            <a:extLst/>
          </p:cNvPr>
          <p:cNvSpPr/>
          <p:nvPr/>
        </p:nvSpPr>
        <p:spPr>
          <a:xfrm>
            <a:off x="8096054" y="4039297"/>
            <a:ext cx="612668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3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-</a:t>
            </a: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0.9bi</a:t>
            </a:r>
            <a:endParaRPr kumimoji="0" lang="en-US" sz="13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Arrow: Curved Up 9">
            <a:extLst/>
          </p:cNvPr>
          <p:cNvSpPr/>
          <p:nvPr/>
        </p:nvSpPr>
        <p:spPr>
          <a:xfrm>
            <a:off x="8169543" y="3875236"/>
            <a:ext cx="433630" cy="151921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0" name="Gráfico 19">
            <a:extLst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53668846"/>
              </p:ext>
            </p:extLst>
          </p:nvPr>
        </p:nvGraphicFramePr>
        <p:xfrm>
          <a:off x="4850353" y="1330635"/>
          <a:ext cx="4092003" cy="25538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6389417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ctrTitle"/>
          </p:nvPr>
        </p:nvSpPr>
        <p:spPr>
          <a:xfrm>
            <a:off x="85062" y="372725"/>
            <a:ext cx="8951434" cy="400110"/>
          </a:xfr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375"/>
              </a:spcBef>
            </a:pPr>
            <a:r>
              <a:rPr lang="en-GB" sz="2000" b="1" i="1" dirty="0">
                <a:solidFill>
                  <a:srgbClr val="002060"/>
                </a:solidFill>
                <a:latin typeface="Arial Black" panose="020B0A04020102020204" pitchFamily="34" charset="0"/>
                <a:ea typeface="+mn-ea"/>
                <a:cs typeface="Segoe UI Light" panose="020B0502040204020203" pitchFamily="34" charset="0"/>
              </a:rPr>
              <a:t>No </a:t>
            </a:r>
            <a:r>
              <a:rPr lang="en-GB" sz="2000" b="1" i="1" dirty="0" err="1">
                <a:solidFill>
                  <a:srgbClr val="002060"/>
                </a:solidFill>
                <a:latin typeface="Arial Black" panose="020B0A04020102020204" pitchFamily="34" charset="0"/>
                <a:ea typeface="+mn-ea"/>
                <a:cs typeface="Segoe UI Light" panose="020B0502040204020203" pitchFamily="34" charset="0"/>
              </a:rPr>
              <a:t>Paraguai</a:t>
            </a:r>
            <a:r>
              <a:rPr lang="en-GB" sz="2000" b="1" i="1" dirty="0">
                <a:solidFill>
                  <a:srgbClr val="002060"/>
                </a:solidFill>
                <a:latin typeface="Arial Black" panose="020B0A04020102020204" pitchFamily="34" charset="0"/>
                <a:ea typeface="+mn-ea"/>
                <a:cs typeface="Segoe UI Light" panose="020B0502040204020203" pitchFamily="34" charset="0"/>
              </a:rPr>
              <a:t>, as </a:t>
            </a:r>
            <a:r>
              <a:rPr lang="en-GB" sz="2000" b="1" i="1" dirty="0" err="1">
                <a:solidFill>
                  <a:srgbClr val="002060"/>
                </a:solidFill>
                <a:latin typeface="Arial Black" panose="020B0A04020102020204" pitchFamily="34" charset="0"/>
                <a:ea typeface="+mn-ea"/>
                <a:cs typeface="Segoe UI Light" panose="020B0502040204020203" pitchFamily="34" charset="0"/>
              </a:rPr>
              <a:t>medidas</a:t>
            </a:r>
            <a:r>
              <a:rPr lang="en-GB" sz="2000" b="1" i="1" dirty="0">
                <a:solidFill>
                  <a:srgbClr val="002060"/>
                </a:solidFill>
                <a:latin typeface="Arial Black" panose="020B0A04020102020204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lang="en-GB" sz="2000" b="1" i="1" dirty="0" err="1">
                <a:solidFill>
                  <a:srgbClr val="002060"/>
                </a:solidFill>
                <a:latin typeface="Arial Black" panose="020B0A04020102020204" pitchFamily="34" charset="0"/>
                <a:ea typeface="+mn-ea"/>
                <a:cs typeface="Segoe UI Light" panose="020B0502040204020203" pitchFamily="34" charset="0"/>
              </a:rPr>
              <a:t>regulatórias</a:t>
            </a:r>
            <a:r>
              <a:rPr lang="en-GB" sz="2000" b="1" i="1" dirty="0">
                <a:solidFill>
                  <a:srgbClr val="002060"/>
                </a:solidFill>
                <a:latin typeface="Arial Black" panose="020B0A04020102020204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lang="en-GB" sz="2000" b="1" i="1" dirty="0" err="1">
                <a:solidFill>
                  <a:srgbClr val="002060"/>
                </a:solidFill>
                <a:latin typeface="Arial Black" panose="020B0A04020102020204" pitchFamily="34" charset="0"/>
                <a:ea typeface="+mn-ea"/>
                <a:cs typeface="Segoe UI Light" panose="020B0502040204020203" pitchFamily="34" charset="0"/>
              </a:rPr>
              <a:t>não</a:t>
            </a:r>
            <a:r>
              <a:rPr lang="en-GB" sz="2000" b="1" i="1" dirty="0">
                <a:solidFill>
                  <a:srgbClr val="002060"/>
                </a:solidFill>
                <a:latin typeface="Arial Black" panose="020B0A04020102020204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lang="en-GB" sz="2000" b="1" i="1" dirty="0" err="1">
                <a:solidFill>
                  <a:srgbClr val="002060"/>
                </a:solidFill>
                <a:latin typeface="Arial Black" panose="020B0A04020102020204" pitchFamily="34" charset="0"/>
                <a:ea typeface="+mn-ea"/>
                <a:cs typeface="Segoe UI Light" panose="020B0502040204020203" pitchFamily="34" charset="0"/>
              </a:rPr>
              <a:t>são</a:t>
            </a:r>
            <a:r>
              <a:rPr lang="en-GB" sz="2000" b="1" i="1" dirty="0">
                <a:solidFill>
                  <a:srgbClr val="002060"/>
                </a:solidFill>
                <a:latin typeface="Arial Black" panose="020B0A04020102020204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lang="en-GB" sz="2000" b="1" i="1" dirty="0" err="1">
                <a:solidFill>
                  <a:srgbClr val="002060"/>
                </a:solidFill>
                <a:latin typeface="Arial Black" panose="020B0A04020102020204" pitchFamily="34" charset="0"/>
                <a:ea typeface="+mn-ea"/>
                <a:cs typeface="Segoe UI Light" panose="020B0502040204020203" pitchFamily="34" charset="0"/>
              </a:rPr>
              <a:t>contundentes</a:t>
            </a:r>
            <a:endParaRPr lang="en-GB" sz="2000" b="1" i="1" dirty="0">
              <a:solidFill>
                <a:srgbClr val="002060"/>
              </a:solidFill>
              <a:latin typeface="Arial Black" panose="020B0A04020102020204" pitchFamily="34" charset="0"/>
              <a:ea typeface="+mn-ea"/>
              <a:cs typeface="Segoe UI Light" panose="020B0502040204020203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418" y="4536941"/>
            <a:ext cx="4011516" cy="1390008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6348" y="1192486"/>
            <a:ext cx="982950" cy="688065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6348" y="3964174"/>
            <a:ext cx="998724" cy="599234"/>
          </a:xfrm>
          <a:prstGeom prst="rect">
            <a:avLst/>
          </a:prstGeom>
        </p:spPr>
      </p:pic>
      <p:sp>
        <p:nvSpPr>
          <p:cNvPr id="9" name="CaixaDeTexto 8"/>
          <p:cNvSpPr txBox="1"/>
          <p:nvPr/>
        </p:nvSpPr>
        <p:spPr>
          <a:xfrm>
            <a:off x="300610" y="6366323"/>
            <a:ext cx="49194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solidFill>
                  <a:srgbClr val="002060"/>
                </a:solidFill>
                <a:latin typeface="Arial Black" panose="020B0A04020102020204" pitchFamily="34" charset="0"/>
              </a:rPr>
              <a:t>Fonte: OPAS/OMS – </a:t>
            </a:r>
            <a:r>
              <a:rPr lang="pt-BR" sz="1100" dirty="0" err="1">
                <a:solidFill>
                  <a:srgbClr val="002060"/>
                </a:solidFill>
                <a:latin typeface="Arial Black" panose="020B0A04020102020204" pitchFamily="34" charset="0"/>
              </a:rPr>
              <a:t>Report</a:t>
            </a:r>
            <a:r>
              <a:rPr lang="pt-BR" sz="1100" dirty="0">
                <a:solidFill>
                  <a:srgbClr val="002060"/>
                </a:solidFill>
                <a:latin typeface="Arial Black" panose="020B0A04020102020204" pitchFamily="34" charset="0"/>
              </a:rPr>
              <a:t> de 2016</a:t>
            </a:r>
            <a:endParaRPr lang="en-US" sz="1100" dirty="0">
              <a:solidFill>
                <a:srgbClr val="002060"/>
              </a:solidFill>
              <a:latin typeface="Arial Black" panose="020B0A04020102020204" pitchFamily="34" charset="0"/>
            </a:endParaRPr>
          </a:p>
        </p:txBody>
      </p:sp>
      <p:sp>
        <p:nvSpPr>
          <p:cNvPr id="10" name="Rounded Rectangle 5"/>
          <p:cNvSpPr/>
          <p:nvPr/>
        </p:nvSpPr>
        <p:spPr bwMode="auto">
          <a:xfrm>
            <a:off x="5220072" y="1226131"/>
            <a:ext cx="3240360" cy="5401802"/>
          </a:xfrm>
          <a:prstGeom prst="roundRect">
            <a:avLst>
              <a:gd name="adj" fmla="val 10008"/>
            </a:avLst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Paraguai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não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adota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boa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parte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das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medidas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atualmente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em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vigor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para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produtos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de Tabaco.</a:t>
            </a:r>
            <a:endParaRPr lang="en-GB" sz="1400" b="1" dirty="0">
              <a:solidFill>
                <a:srgbClr val="002060"/>
              </a:solidFill>
              <a:latin typeface="Arial Black" panose="020B0A04020102020204" pitchFamily="34" charset="0"/>
              <a:cs typeface="Calibri" panose="020F0502020204030204" pitchFamily="34" charset="0"/>
            </a:endParaRPr>
          </a:p>
          <a:p>
            <a:endParaRPr lang="en-GB" sz="1400" b="1" dirty="0">
              <a:solidFill>
                <a:srgbClr val="002060"/>
              </a:solidFill>
              <a:latin typeface="Arial Black" panose="020B0A04020102020204" pitchFamily="34" charset="0"/>
              <a:cs typeface="Calibri" panose="020F0502020204030204" pitchFamily="34" charset="0"/>
            </a:endParaRPr>
          </a:p>
          <a:p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Há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atualmente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12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marcas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de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cigarros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mentolados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contrabandeados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para o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Brasil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, inclusive com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cápsulas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.</a:t>
            </a:r>
            <a:endParaRPr lang="en-GB" sz="1400" b="1" dirty="0">
              <a:solidFill>
                <a:srgbClr val="002060"/>
              </a:solidFill>
              <a:latin typeface="Arial Black" panose="020B0A04020102020204" pitchFamily="34" charset="0"/>
              <a:cs typeface="Calibri" panose="020F0502020204030204" pitchFamily="34" charset="0"/>
            </a:endParaRPr>
          </a:p>
          <a:p>
            <a:endParaRPr lang="en-GB" sz="1400" b="1" dirty="0">
              <a:solidFill>
                <a:srgbClr val="002060"/>
              </a:solidFill>
              <a:latin typeface="Arial Black" panose="020B0A04020102020204" pitchFamily="34" charset="0"/>
              <a:cs typeface="Calibri" panose="020F0502020204030204" pitchFamily="34" charset="0"/>
            </a:endParaRPr>
          </a:p>
          <a:p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Contrabando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é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vendido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à luz do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dia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,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em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qualquer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lugar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do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Brasil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, de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uma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cidade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grande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a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uma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pequena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cidade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do interior.</a:t>
            </a:r>
            <a:endParaRPr lang="en-GB" sz="1400" b="1" dirty="0">
              <a:solidFill>
                <a:srgbClr val="002060"/>
              </a:solidFill>
              <a:latin typeface="Arial Black" panose="020B0A04020102020204" pitchFamily="34" charset="0"/>
              <a:cs typeface="Calibri" panose="020F0502020204030204" pitchFamily="34" charset="0"/>
            </a:endParaRPr>
          </a:p>
          <a:p>
            <a:endParaRPr lang="en-GB" sz="1400" b="1" dirty="0">
              <a:solidFill>
                <a:srgbClr val="002060"/>
              </a:solidFill>
              <a:latin typeface="Arial Black" panose="020B0A04020102020204" pitchFamily="34" charset="0"/>
              <a:cs typeface="Calibri" panose="020F0502020204030204" pitchFamily="34" charset="0"/>
            </a:endParaRPr>
          </a:p>
          <a:p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Contrabando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não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segue as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mesmas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regras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que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proíbem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vendas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a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menores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.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Quanto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mais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temos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contrabando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,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mais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há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vendas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para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menores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de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idade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e para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baixa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GB" sz="1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renda</a:t>
            </a:r>
            <a:r>
              <a:rPr lang="en-GB" sz="1400" b="1" dirty="0">
                <a:solidFill>
                  <a:srgbClr val="002060"/>
                </a:solidFill>
                <a:latin typeface="Arial Black" panose="020B0A04020102020204" pitchFamily="34" charset="0"/>
              </a:rPr>
              <a:t>.</a:t>
            </a:r>
            <a:endParaRPr lang="en-GB" sz="1400" b="1" dirty="0">
              <a:solidFill>
                <a:srgbClr val="002060"/>
              </a:solidFill>
              <a:latin typeface="Arial Black" panose="020B0A04020102020204" pitchFamily="34" charset="0"/>
              <a:cs typeface="Calibri" panose="020F0502020204030204" pitchFamily="34" charset="0"/>
            </a:endParaRPr>
          </a:p>
          <a:p>
            <a:pPr algn="just"/>
            <a:endParaRPr lang="en-GB" sz="1400" b="1" dirty="0">
              <a:solidFill>
                <a:srgbClr val="002060"/>
              </a:solidFill>
              <a:latin typeface="Arial Black" panose="020B0A0402010202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1032" y="1891202"/>
            <a:ext cx="4035902" cy="1572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0747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Agrupar 3"/>
          <p:cNvGrpSpPr/>
          <p:nvPr/>
        </p:nvGrpSpPr>
        <p:grpSpPr>
          <a:xfrm>
            <a:off x="-15017" y="0"/>
            <a:ext cx="9159017" cy="7425347"/>
            <a:chOff x="-14026" y="857250"/>
            <a:chExt cx="9237496" cy="5143500"/>
          </a:xfrm>
        </p:grpSpPr>
        <p:pic>
          <p:nvPicPr>
            <p:cNvPr id="3" name="Imagem 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857250"/>
              <a:ext cx="9144000" cy="5143500"/>
            </a:xfrm>
            <a:prstGeom prst="rect">
              <a:avLst/>
            </a:prstGeom>
          </p:spPr>
        </p:pic>
        <p:sp>
          <p:nvSpPr>
            <p:cNvPr id="5" name="Retângulo 4"/>
            <p:cNvSpPr/>
            <p:nvPr/>
          </p:nvSpPr>
          <p:spPr>
            <a:xfrm>
              <a:off x="-14026" y="857250"/>
              <a:ext cx="9172052" cy="51435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3600" kern="0" dirty="0">
                <a:solidFill>
                  <a:srgbClr val="002060"/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2" name="Retângulo 1"/>
            <p:cNvSpPr/>
            <p:nvPr/>
          </p:nvSpPr>
          <p:spPr>
            <a:xfrm>
              <a:off x="53751" y="2109101"/>
              <a:ext cx="9036496" cy="33045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43" indent="-285743" defTabSz="685800">
                <a:buFont typeface="Wingdings" panose="05000000000000000000" pitchFamily="2" charset="2"/>
                <a:buChar char="ð"/>
              </a:pPr>
              <a:r>
                <a:rPr lang="pt-BR" sz="1600" kern="0" dirty="0">
                  <a:solidFill>
                    <a:srgbClr val="002060"/>
                  </a:solidFill>
                  <a:latin typeface="Arial Black" panose="020B0A04020102020204" pitchFamily="34" charset="0"/>
                </a:rPr>
                <a:t>EVASÃO FISCAL DE R$ 11.5 BILHÕES (1.6 VEZES O ORÇAMENTO DA PF) E A ARRECADAÇÃO FOI R$ 11,4 BI (PRIMEIRA VEZ QUE ESSA INVERSÃO OCORRE);</a:t>
              </a: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endParaRPr lang="pt-BR" sz="1600" kern="0" dirty="0">
                <a:solidFill>
                  <a:srgbClr val="002060"/>
                </a:solidFill>
                <a:latin typeface="Arial Black" panose="020B0A04020102020204" pitchFamily="34" charset="0"/>
              </a:endParaRP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r>
                <a:rPr lang="pt-BR" sz="1600" kern="0" dirty="0">
                  <a:solidFill>
                    <a:srgbClr val="002060"/>
                  </a:solidFill>
                  <a:latin typeface="Arial Black" panose="020B0A04020102020204" pitchFamily="34" charset="0"/>
                </a:rPr>
                <a:t>CONSUMO DO CIGARRO: ILEGAL - 11.2 MILHÕES DE FUMANTES  x LEGAL – 10.9 MILHÕES (PRIMEIRA VEZ QUE O ILEGAL É SUPERIOR AO LEGAL);</a:t>
              </a: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endParaRPr lang="pt-BR" sz="1600" kern="0" dirty="0">
                <a:solidFill>
                  <a:srgbClr val="002060"/>
                </a:solidFill>
                <a:latin typeface="Arial Black" panose="020B0A04020102020204" pitchFamily="34" charset="0"/>
              </a:endParaRP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r>
                <a:rPr lang="pt-BR" sz="1600" kern="0" dirty="0">
                  <a:solidFill>
                    <a:srgbClr val="002060"/>
                  </a:solidFill>
                  <a:latin typeface="Arial Black" panose="020B0A04020102020204" pitchFamily="34" charset="0"/>
                </a:rPr>
                <a:t>VENDA POR UNIDADE AO INVÉS DA CARTEIRA DE 20 UNIDADES E TAMBÉM COM MAÇO DE 10 UNIDADES;</a:t>
              </a: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endParaRPr lang="pt-BR" sz="1600" kern="0" dirty="0">
                <a:solidFill>
                  <a:srgbClr val="002060"/>
                </a:solidFill>
                <a:latin typeface="Arial Black" panose="020B0A04020102020204" pitchFamily="34" charset="0"/>
              </a:endParaRP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r>
                <a:rPr lang="pt-BR" sz="1600" kern="0" dirty="0">
                  <a:solidFill>
                    <a:srgbClr val="002060"/>
                  </a:solidFill>
                  <a:latin typeface="Arial Black" panose="020B0A04020102020204" pitchFamily="34" charset="0"/>
                </a:rPr>
                <a:t>A POLÍTICA ANTITABAGISTA DO GOVERNO ESTÁ SENDO IGNORADA POR 54% DO MERCADO, QUE NÃO OBEDECE QUALQUER REGRA BRASILEIRA;</a:t>
              </a: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endParaRPr lang="pt-BR" sz="1600" kern="0" dirty="0">
                <a:solidFill>
                  <a:srgbClr val="002060"/>
                </a:solidFill>
                <a:latin typeface="Arial Black" panose="020B0A04020102020204" pitchFamily="34" charset="0"/>
              </a:endParaRP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r>
                <a:rPr lang="pt-BR" sz="1600" kern="0" dirty="0">
                  <a:solidFill>
                    <a:srgbClr val="002060"/>
                  </a:solidFill>
                  <a:latin typeface="Arial Black" panose="020B0A04020102020204" pitchFamily="34" charset="0"/>
                </a:rPr>
                <a:t>DESRESPEITO AO PROTOCOLO DA OMS DE COMBATE AO MERCADO ILÍCITO DE TABACO;</a:t>
              </a: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endParaRPr lang="pt-BR" sz="1600" kern="0" dirty="0">
                <a:solidFill>
                  <a:srgbClr val="002060"/>
                </a:solidFill>
                <a:latin typeface="Arial Black" panose="020B0A04020102020204" pitchFamily="34" charset="0"/>
              </a:endParaRP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r>
                <a:rPr lang="pt-BR" sz="1600" kern="0" dirty="0">
                  <a:solidFill>
                    <a:srgbClr val="002060"/>
                  </a:solidFill>
                  <a:latin typeface="Arial Black" panose="020B0A04020102020204" pitchFamily="34" charset="0"/>
                </a:rPr>
                <a:t>AS PRÓPRIAS RECOMENDAÇÕES DA OMS INDICAM QUE CARACTERÍSTICAS TRANSFRONTEIRIÇAS PRECISAM SER CONSIDERADAS NA IMPLEMENTAÇÃO DA CQCT.</a:t>
              </a:r>
            </a:p>
          </p:txBody>
        </p:sp>
        <p:sp>
          <p:nvSpPr>
            <p:cNvPr id="15" name="CaixaDeTexto 14"/>
            <p:cNvSpPr txBox="1"/>
            <p:nvPr/>
          </p:nvSpPr>
          <p:spPr>
            <a:xfrm>
              <a:off x="186973" y="1271692"/>
              <a:ext cx="9036497" cy="837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lnSpc>
                  <a:spcPct val="150000"/>
                </a:lnSpc>
              </a:pPr>
              <a:r>
                <a:rPr lang="pt-BR" sz="3600" kern="0" dirty="0">
                  <a:solidFill>
                    <a:srgbClr val="002060"/>
                  </a:solidFill>
                  <a:latin typeface="Arial Black" panose="020B0A04020102020204" pitchFamily="34" charset="0"/>
                </a:rPr>
                <a:t>CONSEQUÊNCIAS - 2018</a:t>
              </a:r>
              <a:endParaRPr lang="pt-BR" sz="2400" kern="0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94503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-23528" y="2228"/>
            <a:ext cx="9167528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3600" kern="0" dirty="0">
              <a:solidFill>
                <a:schemeClr val="tx1">
                  <a:lumMod val="50000"/>
                  <a:lumOff val="5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251520" y="1858737"/>
            <a:ext cx="8424936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43" indent="-285743" defTabSz="685800">
              <a:buFont typeface="Wingdings" panose="05000000000000000000" pitchFamily="2" charset="2"/>
              <a:buChar char="ð"/>
            </a:pPr>
            <a:r>
              <a:rPr lang="pt-BR" sz="1600" kern="0" dirty="0">
                <a:solidFill>
                  <a:srgbClr val="002060"/>
                </a:solidFill>
                <a:latin typeface="Arial Black" panose="020B0A04020102020204" pitchFamily="34" charset="0"/>
              </a:rPr>
              <a:t>CAMPANHA DO PREÇO MÍNIMO E ÉTICA CONCORRENCIAL COM A RECEITA FEDERAL;</a:t>
            </a:r>
          </a:p>
          <a:p>
            <a:pPr marL="285743" indent="-285743" defTabSz="685800">
              <a:buFont typeface="Wingdings" panose="05000000000000000000" pitchFamily="2" charset="2"/>
              <a:buChar char="ð"/>
            </a:pPr>
            <a:endParaRPr lang="pt-BR" sz="1600" kern="0" dirty="0">
              <a:solidFill>
                <a:srgbClr val="002060"/>
              </a:solidFill>
              <a:latin typeface="Arial Black" panose="020B0A04020102020204" pitchFamily="34" charset="0"/>
            </a:endParaRPr>
          </a:p>
          <a:p>
            <a:pPr marL="285743" indent="-285743" defTabSz="685800">
              <a:buFont typeface="Wingdings" panose="05000000000000000000" pitchFamily="2" charset="2"/>
              <a:buChar char="ð"/>
            </a:pPr>
            <a:r>
              <a:rPr lang="pt-BR" sz="1600" kern="0" dirty="0">
                <a:solidFill>
                  <a:srgbClr val="002060"/>
                </a:solidFill>
                <a:latin typeface="Arial Black" panose="020B0A04020102020204" pitchFamily="34" charset="0"/>
              </a:rPr>
              <a:t>APOIO PARA ASSINATURA DO PROTOCOLO DE COMBATE AO TABACO ILÍCITO;</a:t>
            </a:r>
          </a:p>
          <a:p>
            <a:pPr marL="285743" indent="-285743" defTabSz="685800">
              <a:buFont typeface="Wingdings" panose="05000000000000000000" pitchFamily="2" charset="2"/>
              <a:buChar char="ð"/>
            </a:pPr>
            <a:endParaRPr lang="pt-BR" sz="1600" kern="0" dirty="0">
              <a:solidFill>
                <a:srgbClr val="002060"/>
              </a:solidFill>
              <a:latin typeface="Arial Black" panose="020B0A04020102020204" pitchFamily="34" charset="0"/>
            </a:endParaRPr>
          </a:p>
          <a:p>
            <a:pPr marL="285743" indent="-285743" defTabSz="685800">
              <a:buFont typeface="Wingdings" panose="05000000000000000000" pitchFamily="2" charset="2"/>
              <a:buChar char="ð"/>
            </a:pPr>
            <a:r>
              <a:rPr lang="pt-BR" sz="1600" kern="0" dirty="0">
                <a:solidFill>
                  <a:srgbClr val="002060"/>
                </a:solidFill>
                <a:latin typeface="Arial Black" panose="020B0A04020102020204" pitchFamily="34" charset="0"/>
              </a:rPr>
              <a:t>ESFORÇOS PARA QUE O PARAGUAI TAMBÉM SEJA SIGNATÁRIO DO PROTOCOLO;</a:t>
            </a:r>
          </a:p>
          <a:p>
            <a:pPr marL="285743" indent="-285743" defTabSz="685800">
              <a:buFont typeface="Wingdings" panose="05000000000000000000" pitchFamily="2" charset="2"/>
              <a:buChar char="ð"/>
            </a:pPr>
            <a:endParaRPr lang="pt-BR" sz="1600" kern="0" dirty="0">
              <a:solidFill>
                <a:srgbClr val="002060"/>
              </a:solidFill>
              <a:latin typeface="Arial Black" panose="020B0A04020102020204" pitchFamily="34" charset="0"/>
            </a:endParaRPr>
          </a:p>
          <a:p>
            <a:pPr marL="285743" indent="-285743" defTabSz="685800">
              <a:buFont typeface="Wingdings" panose="05000000000000000000" pitchFamily="2" charset="2"/>
              <a:buChar char="ð"/>
            </a:pPr>
            <a:r>
              <a:rPr lang="pt-BR" sz="1600" kern="0" dirty="0">
                <a:solidFill>
                  <a:srgbClr val="002060"/>
                </a:solidFill>
                <a:latin typeface="Arial Black" panose="020B0A04020102020204" pitchFamily="34" charset="0"/>
              </a:rPr>
              <a:t>APRESENTAÇÃO DE PROPOSTAS RELACIONADAS À SEGURANÇA PÚBLICA AOS CANDIDATOS À PRESIDÊNCIA DE REPÚBLICA;</a:t>
            </a:r>
          </a:p>
          <a:p>
            <a:pPr marL="285743" indent="-285743" defTabSz="685800">
              <a:buFont typeface="Wingdings" panose="05000000000000000000" pitchFamily="2" charset="2"/>
              <a:buChar char="ð"/>
            </a:pPr>
            <a:endParaRPr lang="pt-BR" sz="1600" kern="0" dirty="0">
              <a:solidFill>
                <a:srgbClr val="002060"/>
              </a:solidFill>
              <a:latin typeface="Arial Black" panose="020B0A04020102020204" pitchFamily="34" charset="0"/>
            </a:endParaRPr>
          </a:p>
          <a:p>
            <a:pPr marL="285743" indent="-285743" defTabSz="685800">
              <a:buFont typeface="Wingdings" panose="05000000000000000000" pitchFamily="2" charset="2"/>
              <a:buChar char="ð"/>
            </a:pPr>
            <a:r>
              <a:rPr lang="pt-BR" sz="1600" kern="0" dirty="0">
                <a:solidFill>
                  <a:srgbClr val="002060"/>
                </a:solidFill>
                <a:latin typeface="Arial Black" panose="020B0A04020102020204" pitchFamily="34" charset="0"/>
              </a:rPr>
              <a:t>CAMPANHAS DE APOIO ÀS POLÍTICAS DE SEGURANÇA NAS FRONTEIRAS E DE COMBATE AO MERCADO ILÍCITO;</a:t>
            </a:r>
          </a:p>
          <a:p>
            <a:pPr marL="285743" indent="-285743" defTabSz="685800">
              <a:buFont typeface="Wingdings" panose="05000000000000000000" pitchFamily="2" charset="2"/>
              <a:buChar char="ð"/>
            </a:pPr>
            <a:endParaRPr lang="pt-BR" sz="1600" kern="0" dirty="0">
              <a:solidFill>
                <a:srgbClr val="002060"/>
              </a:solidFill>
              <a:latin typeface="Arial Black" panose="020B0A04020102020204" pitchFamily="34" charset="0"/>
            </a:endParaRPr>
          </a:p>
          <a:p>
            <a:pPr marL="285743" indent="-285743" defTabSz="685800">
              <a:buFont typeface="Wingdings" panose="05000000000000000000" pitchFamily="2" charset="2"/>
              <a:buChar char="ð"/>
            </a:pPr>
            <a:r>
              <a:rPr lang="pt-BR" sz="1600" kern="0" dirty="0">
                <a:solidFill>
                  <a:srgbClr val="002060"/>
                </a:solidFill>
                <a:latin typeface="Arial Black" panose="020B0A04020102020204" pitchFamily="34" charset="0"/>
              </a:rPr>
              <a:t>REALIZAÇÃO DE PESQUISAS.</a:t>
            </a:r>
          </a:p>
          <a:p>
            <a:pPr marL="285743" indent="-285743" defTabSz="685800">
              <a:buFont typeface="Wingdings" panose="05000000000000000000" pitchFamily="2" charset="2"/>
              <a:buChar char="ð"/>
            </a:pPr>
            <a:endParaRPr lang="pt-BR" sz="1600" kern="0" dirty="0">
              <a:solidFill>
                <a:srgbClr val="002060"/>
              </a:solidFill>
              <a:latin typeface="Arial Black" panose="020B0A04020102020204" pitchFamily="34" charset="0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30224" y="935407"/>
            <a:ext cx="9036496" cy="8374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lnSpc>
                <a:spcPct val="150000"/>
              </a:lnSpc>
            </a:pPr>
            <a:r>
              <a:rPr lang="pt-BR" sz="3600" kern="0" dirty="0">
                <a:solidFill>
                  <a:srgbClr val="002060"/>
                </a:solidFill>
                <a:latin typeface="Arial Black" panose="020B0A04020102020204" pitchFamily="34" charset="0"/>
              </a:rPr>
              <a:t>INICIATIVAS ADOTADAS</a:t>
            </a:r>
            <a:endParaRPr lang="pt-BR" sz="2400" kern="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892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1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10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10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10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1000"/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allAtOnce"/>
      <p:bldP spid="15" grpId="0" build="allAtOnce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1166" y="1556126"/>
            <a:ext cx="1230875" cy="162965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ítulo 1"/>
          <p:cNvSpPr txBox="1">
            <a:spLocks/>
          </p:cNvSpPr>
          <p:nvPr/>
        </p:nvSpPr>
        <p:spPr>
          <a:xfrm>
            <a:off x="250890" y="435441"/>
            <a:ext cx="8929622" cy="40011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>
              <a:spcBef>
                <a:spcPts val="375"/>
              </a:spcBef>
              <a:buNone/>
              <a:defRPr sz="2400" b="1" i="1">
                <a:solidFill>
                  <a:srgbClr val="002060"/>
                </a:solidFill>
                <a:latin typeface="+mj-lt"/>
                <a:cs typeface="Segoe UI Light" panose="020B0502040204020203" pitchFamily="34" charset="0"/>
              </a:defRPr>
            </a:lvl1pPr>
          </a:lstStyle>
          <a:p>
            <a:r>
              <a:rPr lang="pt-BR" sz="2000" dirty="0">
                <a:latin typeface="Arial Black" panose="020B0A04020102020204" pitchFamily="34" charset="0"/>
              </a:rPr>
              <a:t>PLS 769/2015 é a tempestade perfeita para o contrabando!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1175" y="1556559"/>
            <a:ext cx="1087396" cy="1564534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 descr="C:\Users\matjulaj\AppData\Local\Microsoft\Windows\Temporary Internet Files\Content.Outlook\8W6JKTHN\51_menthol (00000003)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3425" y="3813020"/>
            <a:ext cx="1114648" cy="1565541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1716" y="3803260"/>
            <a:ext cx="1244406" cy="1602448"/>
          </a:xfrm>
          <a:prstGeom prst="rect">
            <a:avLst/>
          </a:prstGeom>
        </p:spPr>
      </p:pic>
      <p:grpSp>
        <p:nvGrpSpPr>
          <p:cNvPr id="17" name="Group 16"/>
          <p:cNvGrpSpPr>
            <a:grpSpLocks/>
          </p:cNvGrpSpPr>
          <p:nvPr/>
        </p:nvGrpSpPr>
        <p:grpSpPr bwMode="auto">
          <a:xfrm>
            <a:off x="7256604" y="1340768"/>
            <a:ext cx="854356" cy="1005929"/>
            <a:chOff x="2761" y="2333"/>
            <a:chExt cx="1281" cy="855"/>
          </a:xfrm>
        </p:grpSpPr>
        <p:pic>
          <p:nvPicPr>
            <p:cNvPr id="18" name="Picture 17" descr="MC900441360[1]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61" y="2333"/>
              <a:ext cx="1256" cy="8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Text Box 18"/>
            <p:cNvSpPr txBox="1">
              <a:spLocks noChangeArrowheads="1"/>
            </p:cNvSpPr>
            <p:nvPr/>
          </p:nvSpPr>
          <p:spPr bwMode="auto">
            <a:xfrm rot="20352144">
              <a:off x="2816" y="2624"/>
              <a:ext cx="1226" cy="2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</a:defRPr>
              </a:lvl9pPr>
            </a:lstStyle>
            <a:p>
              <a:pPr algn="ctr" eaLnBrk="1" hangingPunct="1"/>
              <a:r>
                <a:rPr lang="en-GB" sz="1200" dirty="0">
                  <a:latin typeface="Arial Black" panose="020B0A04020102020204" pitchFamily="34" charset="0"/>
                </a:rPr>
                <a:t>R$ 7,46</a:t>
              </a:r>
            </a:p>
          </p:txBody>
        </p:sp>
      </p:grpSp>
      <p:pic>
        <p:nvPicPr>
          <p:cNvPr id="22" name="Picture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7529" y="3972001"/>
            <a:ext cx="1112342" cy="1406560"/>
          </a:xfrm>
          <a:prstGeom prst="rect">
            <a:avLst/>
          </a:prstGeom>
        </p:spPr>
      </p:pic>
      <p:grpSp>
        <p:nvGrpSpPr>
          <p:cNvPr id="23" name="Group 13"/>
          <p:cNvGrpSpPr>
            <a:grpSpLocks/>
          </p:cNvGrpSpPr>
          <p:nvPr/>
        </p:nvGrpSpPr>
        <p:grpSpPr bwMode="auto">
          <a:xfrm>
            <a:off x="7098803" y="3593085"/>
            <a:ext cx="995482" cy="975929"/>
            <a:chOff x="2901" y="2432"/>
            <a:chExt cx="1451" cy="1006"/>
          </a:xfrm>
        </p:grpSpPr>
        <p:pic>
          <p:nvPicPr>
            <p:cNvPr id="24" name="Picture 14" descr="MC900441360[1]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01" y="2432"/>
              <a:ext cx="1451" cy="10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Text Box 15"/>
            <p:cNvSpPr txBox="1">
              <a:spLocks noChangeArrowheads="1"/>
            </p:cNvSpPr>
            <p:nvPr/>
          </p:nvSpPr>
          <p:spPr bwMode="auto">
            <a:xfrm rot="20352144">
              <a:off x="3024" y="2740"/>
              <a:ext cx="1192" cy="2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</a:defRPr>
              </a:lvl9pPr>
            </a:lstStyle>
            <a:p>
              <a:pPr algn="ctr" eaLnBrk="1" hangingPunct="1"/>
              <a:r>
                <a:rPr lang="en-GB" sz="1200" dirty="0">
                  <a:latin typeface="Arial Black" panose="020B0A04020102020204" pitchFamily="34" charset="0"/>
                </a:rPr>
                <a:t>R$ 3,31</a:t>
              </a:r>
            </a:p>
          </p:txBody>
        </p:sp>
      </p:grpSp>
      <p:sp>
        <p:nvSpPr>
          <p:cNvPr id="12" name="Retângulo 11"/>
          <p:cNvSpPr/>
          <p:nvPr/>
        </p:nvSpPr>
        <p:spPr>
          <a:xfrm>
            <a:off x="971600" y="1454720"/>
            <a:ext cx="1738745" cy="4124656"/>
          </a:xfrm>
          <a:prstGeom prst="rect">
            <a:avLst/>
          </a:prstGeom>
          <a:noFill/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 Black" panose="020B0A04020102020204" pitchFamily="34" charset="0"/>
            </a:endParaRPr>
          </a:p>
        </p:txBody>
      </p:sp>
      <p:pic>
        <p:nvPicPr>
          <p:cNvPr id="21" name="Picture 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23" y="2822504"/>
            <a:ext cx="648072" cy="393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52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169" y="4955388"/>
            <a:ext cx="572146" cy="423174"/>
          </a:xfrm>
          <a:prstGeom prst="rect">
            <a:avLst/>
          </a:prstGeom>
        </p:spPr>
      </p:pic>
      <p:pic>
        <p:nvPicPr>
          <p:cNvPr id="37" name="Imagem 1"/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" b="98000" l="4348" r="98551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8886" y="1495366"/>
            <a:ext cx="1260530" cy="1681865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CaixaDeTexto 12"/>
          <p:cNvSpPr txBox="1"/>
          <p:nvPr/>
        </p:nvSpPr>
        <p:spPr>
          <a:xfrm>
            <a:off x="5280239" y="1380623"/>
            <a:ext cx="42411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600" dirty="0">
                <a:solidFill>
                  <a:srgbClr val="FF0000"/>
                </a:solidFill>
                <a:latin typeface="Arial Black" panose="020B0A04020102020204" pitchFamily="34" charset="0"/>
              </a:rPr>
              <a:t>X</a:t>
            </a:r>
            <a:endParaRPr lang="en-US" sz="9600" dirty="0">
              <a:solidFill>
                <a:srgbClr val="FF0000"/>
              </a:solidFill>
              <a:latin typeface="Arial Black" panose="020B0A04020102020204" pitchFamily="34" charset="0"/>
            </a:endParaRPr>
          </a:p>
        </p:txBody>
      </p:sp>
      <p:pic>
        <p:nvPicPr>
          <p:cNvPr id="1036" name="Picture 12" descr="C:\Users\matcedss\AppData\Local\Microsoft\Windows\Temporary Internet Files\Content.Outlook\XYHGM95M\5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8605" y="3854358"/>
            <a:ext cx="1326058" cy="15242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7" name="Picture 13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1592" y="1577598"/>
            <a:ext cx="1323070" cy="1581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Retângulo 41"/>
          <p:cNvSpPr/>
          <p:nvPr/>
        </p:nvSpPr>
        <p:spPr>
          <a:xfrm>
            <a:off x="2788525" y="1458209"/>
            <a:ext cx="1738745" cy="4121168"/>
          </a:xfrm>
          <a:prstGeom prst="rect">
            <a:avLst/>
          </a:prstGeom>
          <a:noFill/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 Black" panose="020B0A04020102020204" pitchFamily="34" charset="0"/>
            </a:endParaRPr>
          </a:p>
        </p:txBody>
      </p:sp>
      <p:sp>
        <p:nvSpPr>
          <p:cNvPr id="43" name="Retângulo 42"/>
          <p:cNvSpPr/>
          <p:nvPr/>
        </p:nvSpPr>
        <p:spPr>
          <a:xfrm>
            <a:off x="4593575" y="1458209"/>
            <a:ext cx="1738745" cy="4121168"/>
          </a:xfrm>
          <a:prstGeom prst="rect">
            <a:avLst/>
          </a:prstGeom>
          <a:noFill/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 Black" panose="020B0A04020102020204" pitchFamily="34" charset="0"/>
            </a:endParaRPr>
          </a:p>
        </p:txBody>
      </p:sp>
      <p:sp>
        <p:nvSpPr>
          <p:cNvPr id="45" name="Retângulo 44"/>
          <p:cNvSpPr/>
          <p:nvPr/>
        </p:nvSpPr>
        <p:spPr>
          <a:xfrm>
            <a:off x="6404328" y="1458209"/>
            <a:ext cx="1738745" cy="4121168"/>
          </a:xfrm>
          <a:prstGeom prst="rect">
            <a:avLst/>
          </a:prstGeom>
          <a:noFill/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 Black" panose="020B0A04020102020204" pitchFamily="34" charset="0"/>
            </a:endParaRPr>
          </a:p>
        </p:txBody>
      </p:sp>
      <p:sp>
        <p:nvSpPr>
          <p:cNvPr id="26" name="Seta para baixo 25"/>
          <p:cNvSpPr/>
          <p:nvPr/>
        </p:nvSpPr>
        <p:spPr>
          <a:xfrm>
            <a:off x="1667234" y="3251693"/>
            <a:ext cx="347476" cy="44001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 Black" panose="020B0A04020102020204" pitchFamily="34" charset="0"/>
            </a:endParaRPr>
          </a:p>
        </p:txBody>
      </p:sp>
      <p:sp>
        <p:nvSpPr>
          <p:cNvPr id="47" name="Seta para baixo 46"/>
          <p:cNvSpPr/>
          <p:nvPr/>
        </p:nvSpPr>
        <p:spPr>
          <a:xfrm>
            <a:off x="3476194" y="3251693"/>
            <a:ext cx="347476" cy="44001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 Black" panose="020B0A04020102020204" pitchFamily="34" charset="0"/>
            </a:endParaRPr>
          </a:p>
        </p:txBody>
      </p:sp>
      <p:sp>
        <p:nvSpPr>
          <p:cNvPr id="48" name="Seta para baixo 47"/>
          <p:cNvSpPr/>
          <p:nvPr/>
        </p:nvSpPr>
        <p:spPr>
          <a:xfrm>
            <a:off x="5214070" y="3251693"/>
            <a:ext cx="347476" cy="44001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 Black" panose="020B0A04020102020204" pitchFamily="34" charset="0"/>
            </a:endParaRPr>
          </a:p>
        </p:txBody>
      </p:sp>
      <p:sp>
        <p:nvSpPr>
          <p:cNvPr id="49" name="Seta para baixo 48"/>
          <p:cNvSpPr/>
          <p:nvPr/>
        </p:nvSpPr>
        <p:spPr>
          <a:xfrm>
            <a:off x="7101665" y="3251693"/>
            <a:ext cx="347476" cy="44001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 Black" panose="020B0A04020102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009738" y="5859667"/>
            <a:ext cx="7129290" cy="461665"/>
          </a:xfrm>
          <a:prstGeom prst="rect">
            <a:avLst/>
          </a:prstGeom>
          <a:noFill/>
          <a:ln>
            <a:solidFill>
              <a:schemeClr val="tx1">
                <a:lumMod val="95000"/>
                <a:lumOff val="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pt-BR" sz="2400" b="1" dirty="0">
                <a:solidFill>
                  <a:srgbClr val="002060"/>
                </a:solidFill>
                <a:latin typeface="Arial Black" panose="020B0A04020102020204" pitchFamily="34" charset="0"/>
              </a:rPr>
              <a:t>Uma discussão profunda é necessária...</a:t>
            </a:r>
            <a:endParaRPr lang="en-US" sz="2400" b="1" dirty="0">
              <a:solidFill>
                <a:srgbClr val="002060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047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28600"/>
            <a:ext cx="7292280" cy="608112"/>
          </a:xfrm>
        </p:spPr>
        <p:txBody>
          <a:bodyPr>
            <a:noAutofit/>
          </a:bodyPr>
          <a:lstStyle/>
          <a:p>
            <a:pPr algn="l"/>
            <a:r>
              <a:rPr lang="pt-BR" sz="2000" b="1" i="1" dirty="0">
                <a:solidFill>
                  <a:srgbClr val="002060"/>
                </a:solidFill>
                <a:latin typeface="Arial Black" panose="020B0A04020102020204" pitchFamily="34" charset="0"/>
              </a:rPr>
              <a:t>Na Austrália, medidas como embalagens genéricas já se mostraram uma catástrofe</a:t>
            </a:r>
          </a:p>
        </p:txBody>
      </p:sp>
      <p:sp>
        <p:nvSpPr>
          <p:cNvPr id="6" name="Rounded Rectangle 5"/>
          <p:cNvSpPr/>
          <p:nvPr/>
        </p:nvSpPr>
        <p:spPr bwMode="auto">
          <a:xfrm>
            <a:off x="518047" y="1416150"/>
            <a:ext cx="8074991" cy="5325218"/>
          </a:xfrm>
          <a:prstGeom prst="roundRect">
            <a:avLst>
              <a:gd name="adj" fmla="val 10008"/>
            </a:avLst>
          </a:prstGeom>
          <a:solidFill>
            <a:schemeClr val="bg1"/>
          </a:solidFill>
          <a:ln>
            <a:solidFill>
              <a:srgbClr val="002060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just"/>
            <a:endParaRPr lang="pt-BR" sz="1400">
              <a:latin typeface="Arial Black" panose="020B0A04020102020204" pitchFamily="34" charset="0"/>
              <a:cs typeface="Calibri" panose="020F0502020204030204" pitchFamily="34" charset="0"/>
            </a:endParaRPr>
          </a:p>
          <a:p>
            <a:pPr algn="just"/>
            <a:endParaRPr lang="pt-BR" sz="1200" b="1" dirty="0">
              <a:solidFill>
                <a:schemeClr val="tx2">
                  <a:lumMod val="75000"/>
                </a:schemeClr>
              </a:solidFill>
              <a:latin typeface="Arial Black" panose="020B0A0402010202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 bwMode="auto">
          <a:xfrm>
            <a:off x="611560" y="1268760"/>
            <a:ext cx="5760639" cy="429928"/>
          </a:xfrm>
          <a:prstGeom prst="round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1600" b="1" i="1" dirty="0">
                <a:solidFill>
                  <a:srgbClr val="002277"/>
                </a:solidFill>
                <a:latin typeface="Arial Black" panose="020B0A04020102020204" pitchFamily="34" charset="0"/>
                <a:cs typeface="Calibri" panose="020F0502020204030204" pitchFamily="34" charset="0"/>
              </a:rPr>
              <a:t>Plain </a:t>
            </a:r>
            <a:r>
              <a:rPr lang="pt-BR" sz="1600" b="1" i="1" dirty="0" err="1">
                <a:solidFill>
                  <a:srgbClr val="002277"/>
                </a:solidFill>
                <a:latin typeface="Arial Black" panose="020B0A04020102020204" pitchFamily="34" charset="0"/>
                <a:cs typeface="Calibri" panose="020F0502020204030204" pitchFamily="34" charset="0"/>
              </a:rPr>
              <a:t>Packaging</a:t>
            </a:r>
            <a:r>
              <a:rPr lang="pt-BR" sz="1600" b="1" i="1" dirty="0">
                <a:solidFill>
                  <a:srgbClr val="002277"/>
                </a:solidFill>
                <a:latin typeface="Arial Black" panose="020B0A04020102020204" pitchFamily="34" charset="0"/>
                <a:cs typeface="Calibri" panose="020F0502020204030204" pitchFamily="34" charset="0"/>
              </a:rPr>
              <a:t> – Mercado Ilegal e Ilegal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086356" y="2712294"/>
            <a:ext cx="3455876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O </a:t>
            </a:r>
            <a:r>
              <a:rPr lang="en-US" sz="2000" b="1" dirty="0" err="1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mercado</a:t>
            </a: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 illegal de </a:t>
            </a:r>
            <a:r>
              <a:rPr lang="en-US" sz="2000" b="1" dirty="0" err="1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produtos</a:t>
            </a: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 de Tabaco </a:t>
            </a:r>
            <a:r>
              <a:rPr lang="en-US" sz="2000" b="1" dirty="0" err="1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aumentou</a:t>
            </a: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 30% </a:t>
            </a:r>
            <a:r>
              <a:rPr lang="en-US" sz="2000" b="1" dirty="0" err="1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nos</a:t>
            </a: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 </a:t>
            </a:r>
            <a:r>
              <a:rPr lang="en-US" sz="2000" b="1" dirty="0" err="1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primeiros</a:t>
            </a: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 </a:t>
            </a:r>
            <a:r>
              <a:rPr lang="en-US" sz="2000" b="1" dirty="0" err="1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anos</a:t>
            </a: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 de </a:t>
            </a:r>
            <a:r>
              <a:rPr lang="en-US" sz="2000" b="1" dirty="0" err="1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sua</a:t>
            </a: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 </a:t>
            </a:r>
            <a:r>
              <a:rPr lang="en-US" sz="2000" b="1" dirty="0" err="1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implementação</a:t>
            </a: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2000" b="1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Atualmente, o mercado ilegal permanece 20% maior que o período </a:t>
            </a:r>
            <a:r>
              <a:rPr lang="pt-BR" sz="2000" b="1" dirty="0" err="1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pré</a:t>
            </a:r>
            <a:r>
              <a:rPr lang="pt-BR" sz="2000" b="1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-implementação.</a:t>
            </a:r>
            <a:endParaRPr lang="en-US" sz="2000" b="1" dirty="0">
              <a:solidFill>
                <a:schemeClr val="accent1">
                  <a:lumMod val="5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670921" y="6021288"/>
            <a:ext cx="454915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i="1" dirty="0">
                <a:latin typeface="Arial Black" panose="020B0A04020102020204" pitchFamily="34" charset="0"/>
              </a:rPr>
              <a:t>Source: KPMG – Illicit tobacco in Australia, 2017.</a:t>
            </a:r>
          </a:p>
          <a:p>
            <a:r>
              <a:rPr lang="pt-BR" sz="900" i="1" dirty="0">
                <a:latin typeface="Arial Black" panose="020B0A04020102020204" pitchFamily="34" charset="0"/>
              </a:rPr>
              <a:t>*</a:t>
            </a:r>
            <a:r>
              <a:rPr lang="pt-BR" sz="900" i="1" dirty="0" err="1">
                <a:latin typeface="Arial Black" panose="020B0A04020102020204" pitchFamily="34" charset="0"/>
              </a:rPr>
              <a:t>Australian</a:t>
            </a:r>
            <a:r>
              <a:rPr lang="pt-BR" sz="900" i="1" dirty="0">
                <a:latin typeface="Arial Black" panose="020B0A04020102020204" pitchFamily="34" charset="0"/>
              </a:rPr>
              <a:t> </a:t>
            </a:r>
            <a:r>
              <a:rPr lang="pt-BR" sz="900" i="1" dirty="0" err="1">
                <a:latin typeface="Arial Black" panose="020B0A04020102020204" pitchFamily="34" charset="0"/>
              </a:rPr>
              <a:t>Government</a:t>
            </a:r>
            <a:r>
              <a:rPr lang="pt-BR" sz="900" i="1" dirty="0">
                <a:latin typeface="Arial Black" panose="020B0A04020102020204" pitchFamily="34" charset="0"/>
              </a:rPr>
              <a:t>, “</a:t>
            </a:r>
            <a:r>
              <a:rPr lang="pt-BR" sz="900" i="1" dirty="0" err="1">
                <a:latin typeface="Arial Black" panose="020B0A04020102020204" pitchFamily="34" charset="0"/>
              </a:rPr>
              <a:t>National</a:t>
            </a:r>
            <a:r>
              <a:rPr lang="pt-BR" sz="900" i="1" dirty="0">
                <a:latin typeface="Arial Black" panose="020B0A04020102020204" pitchFamily="34" charset="0"/>
              </a:rPr>
              <a:t> </a:t>
            </a:r>
            <a:r>
              <a:rPr lang="pt-BR" sz="900" i="1" dirty="0" err="1">
                <a:latin typeface="Arial Black" panose="020B0A04020102020204" pitchFamily="34" charset="0"/>
              </a:rPr>
              <a:t>Drug</a:t>
            </a:r>
            <a:r>
              <a:rPr lang="pt-BR" sz="900" i="1" dirty="0">
                <a:latin typeface="Arial Black" panose="020B0A04020102020204" pitchFamily="34" charset="0"/>
              </a:rPr>
              <a:t> </a:t>
            </a:r>
            <a:r>
              <a:rPr lang="pt-BR" sz="900" i="1" dirty="0" err="1">
                <a:latin typeface="Arial Black" panose="020B0A04020102020204" pitchFamily="34" charset="0"/>
              </a:rPr>
              <a:t>Strategy</a:t>
            </a:r>
            <a:r>
              <a:rPr lang="pt-BR" sz="900" i="1" dirty="0">
                <a:latin typeface="Arial Black" panose="020B0A04020102020204" pitchFamily="34" charset="0"/>
              </a:rPr>
              <a:t> </a:t>
            </a:r>
            <a:r>
              <a:rPr lang="pt-BR" sz="900" i="1" dirty="0" err="1">
                <a:latin typeface="Arial Black" panose="020B0A04020102020204" pitchFamily="34" charset="0"/>
              </a:rPr>
              <a:t>Household</a:t>
            </a:r>
            <a:r>
              <a:rPr lang="pt-BR" sz="900" i="1" dirty="0">
                <a:latin typeface="Arial Black" panose="020B0A04020102020204" pitchFamily="34" charset="0"/>
              </a:rPr>
              <a:t> </a:t>
            </a:r>
            <a:r>
              <a:rPr lang="pt-BR" sz="900" i="1" dirty="0" err="1">
                <a:latin typeface="Arial Black" panose="020B0A04020102020204" pitchFamily="34" charset="0"/>
              </a:rPr>
              <a:t>Survey</a:t>
            </a:r>
            <a:r>
              <a:rPr lang="pt-BR" sz="900" i="1" dirty="0">
                <a:latin typeface="Arial Black" panose="020B0A04020102020204" pitchFamily="34" charset="0"/>
              </a:rPr>
              <a:t> 2016 – </a:t>
            </a:r>
            <a:r>
              <a:rPr lang="pt-BR" sz="900" i="1" dirty="0" err="1">
                <a:latin typeface="Arial Black" panose="020B0A04020102020204" pitchFamily="34" charset="0"/>
              </a:rPr>
              <a:t>Detailed</a:t>
            </a:r>
            <a:r>
              <a:rPr lang="pt-BR" sz="900" i="1" dirty="0">
                <a:latin typeface="Arial Black" panose="020B0A04020102020204" pitchFamily="34" charset="0"/>
              </a:rPr>
              <a:t> </a:t>
            </a:r>
            <a:r>
              <a:rPr lang="pt-BR" sz="900" i="1" dirty="0" err="1">
                <a:latin typeface="Arial Black" panose="020B0A04020102020204" pitchFamily="34" charset="0"/>
              </a:rPr>
              <a:t>Findings</a:t>
            </a:r>
            <a:r>
              <a:rPr lang="pt-BR" sz="900" i="1" dirty="0">
                <a:latin typeface="Arial Black" panose="020B0A04020102020204" pitchFamily="34" charset="0"/>
              </a:rPr>
              <a:t>” (2016), p. 7.</a:t>
            </a:r>
            <a:endParaRPr lang="pt-BR" sz="900" dirty="0">
              <a:latin typeface="Arial Black" panose="020B0A04020102020204" pitchFamily="34" charset="0"/>
            </a:endParaRPr>
          </a:p>
        </p:txBody>
      </p:sp>
      <p:sp>
        <p:nvSpPr>
          <p:cNvPr id="4" name="AutoShape 5" descr="https://encrypted-tbn2.gstatic.com/images?q=tbn:ANd9GcR0aiIi7LUzdzY74tEmeS9dynt4OmfFdyTjmmAViThfYwohE9Mo7Rg4Ym52">
            <a:hlinkClick r:id="rId3"/>
          </p:cNvPr>
          <p:cNvSpPr>
            <a:spLocks noChangeAspect="1" noChangeArrowheads="1"/>
          </p:cNvSpPr>
          <p:nvPr/>
        </p:nvSpPr>
        <p:spPr bwMode="auto">
          <a:xfrm>
            <a:off x="155575" y="-350838"/>
            <a:ext cx="1304925" cy="733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" name="AutoShape 7" descr="https://encrypted-tbn1.gstatic.com/images?q=tbn:ANd9GcSkFW8YA2hRsaM3B0LGIGhd-2hdfnc_4jholEYeIMeF9MaehNV7QABNlWI">
            <a:hlinkClick r:id="rId4"/>
          </p:cNvPr>
          <p:cNvSpPr>
            <a:spLocks noChangeAspect="1" noChangeArrowheads="1"/>
          </p:cNvSpPr>
          <p:nvPr/>
        </p:nvSpPr>
        <p:spPr bwMode="auto">
          <a:xfrm>
            <a:off x="155575" y="-350838"/>
            <a:ext cx="1047750" cy="733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12" name="Imagem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9939" y="2602846"/>
            <a:ext cx="4372877" cy="2278941"/>
          </a:xfrm>
          <a:prstGeom prst="rect">
            <a:avLst/>
          </a:prstGeom>
        </p:spPr>
      </p:pic>
      <p:pic>
        <p:nvPicPr>
          <p:cNvPr id="15" name="Imagem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76825" y="93734"/>
            <a:ext cx="2065393" cy="103269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026309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0" y="0"/>
            <a:ext cx="9144000" cy="66720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" name="Picture 2" descr="C:\Users\COMUNI~1\AppData\Local\Temp\Rar$DIa0.123\etco_pattern_arte_final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672015"/>
            <a:ext cx="9144000" cy="213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ítulo 9"/>
          <p:cNvSpPr>
            <a:spLocks noGrp="1"/>
          </p:cNvSpPr>
          <p:nvPr>
            <p:ph type="ctrTitle"/>
          </p:nvPr>
        </p:nvSpPr>
        <p:spPr>
          <a:xfrm>
            <a:off x="1691680" y="2852936"/>
            <a:ext cx="5760640" cy="881439"/>
          </a:xfrm>
        </p:spPr>
        <p:txBody>
          <a:bodyPr>
            <a:normAutofit/>
          </a:bodyPr>
          <a:lstStyle/>
          <a:p>
            <a:pPr algn="ctr"/>
            <a:r>
              <a:rPr lang="pt-BR" sz="4400" dirty="0">
                <a:solidFill>
                  <a:schemeClr val="tx2">
                    <a:lumMod val="75000"/>
                  </a:schemeClr>
                </a:solidFill>
                <a:latin typeface="Arial Black" panose="020B0A04020102020204" pitchFamily="34" charset="0"/>
                <a:ea typeface="+mn-ea"/>
                <a:cs typeface="+mn-cs"/>
              </a:rPr>
              <a:t>FIM</a:t>
            </a:r>
            <a:endParaRPr lang="pt-BR" sz="4400" kern="1200" dirty="0">
              <a:solidFill>
                <a:schemeClr val="tx2">
                  <a:lumMod val="75000"/>
                </a:schemeClr>
              </a:solidFill>
              <a:latin typeface="Arial Black" panose="020B0A040201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20435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Agrupar 1"/>
          <p:cNvGrpSpPr/>
          <p:nvPr/>
        </p:nvGrpSpPr>
        <p:grpSpPr>
          <a:xfrm>
            <a:off x="0" y="0"/>
            <a:ext cx="9144000" cy="6858000"/>
            <a:chOff x="-252536" y="212644"/>
            <a:chExt cx="9469052" cy="6312701"/>
          </a:xfrm>
        </p:grpSpPr>
        <p:pic>
          <p:nvPicPr>
            <p:cNvPr id="4" name="Imagem 3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52536" y="212644"/>
              <a:ext cx="9469052" cy="6312701"/>
            </a:xfrm>
            <a:prstGeom prst="rect">
              <a:avLst/>
            </a:prstGeom>
          </p:spPr>
        </p:pic>
        <p:sp>
          <p:nvSpPr>
            <p:cNvPr id="5" name="Retângulo 4"/>
            <p:cNvSpPr/>
            <p:nvPr/>
          </p:nvSpPr>
          <p:spPr>
            <a:xfrm>
              <a:off x="-252536" y="212644"/>
              <a:ext cx="9469052" cy="6312701"/>
            </a:xfrm>
            <a:prstGeom prst="rect">
              <a:avLst/>
            </a:prstGeom>
            <a:solidFill>
              <a:schemeClr val="bg1">
                <a:alpha val="69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36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7" name="CaixaDeTexto 6"/>
            <p:cNvSpPr txBox="1"/>
            <p:nvPr/>
          </p:nvSpPr>
          <p:spPr>
            <a:xfrm>
              <a:off x="611561" y="2132857"/>
              <a:ext cx="7920880" cy="23797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lnSpc>
                  <a:spcPct val="150000"/>
                </a:lnSpc>
              </a:pPr>
              <a:r>
                <a:rPr lang="pt-BR" sz="2400" kern="0" dirty="0">
                  <a:solidFill>
                    <a:srgbClr val="002060"/>
                  </a:solidFill>
                  <a:latin typeface="Arial Black" panose="020B0A04020102020204" pitchFamily="34" charset="0"/>
                </a:rPr>
                <a:t>A ÉTICA CONCORRENCIAL E A DEFESA DA LEGALIDADE SÃO FUNDAMENTOS DA CONVIVÊNCIA E INCENTIVAM O DESENVOLVIMENTO DE QUALQUER PAÍS</a:t>
              </a:r>
            </a:p>
            <a:p>
              <a:pPr defTabSz="685800"/>
              <a:endParaRPr lang="pt-BR" kern="0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100968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Agrupar 3"/>
          <p:cNvGrpSpPr/>
          <p:nvPr/>
        </p:nvGrpSpPr>
        <p:grpSpPr>
          <a:xfrm>
            <a:off x="0" y="0"/>
            <a:ext cx="9144000" cy="7029399"/>
            <a:chOff x="-36512" y="745485"/>
            <a:chExt cx="9180512" cy="5419819"/>
          </a:xfrm>
        </p:grpSpPr>
        <p:pic>
          <p:nvPicPr>
            <p:cNvPr id="3" name="Imagem 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857250"/>
              <a:ext cx="9144000" cy="5143500"/>
            </a:xfrm>
            <a:prstGeom prst="rect">
              <a:avLst/>
            </a:prstGeom>
          </p:spPr>
        </p:pic>
        <p:sp>
          <p:nvSpPr>
            <p:cNvPr id="5" name="Retângulo 4"/>
            <p:cNvSpPr/>
            <p:nvPr/>
          </p:nvSpPr>
          <p:spPr>
            <a:xfrm>
              <a:off x="-36512" y="745485"/>
              <a:ext cx="9172052" cy="5419819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36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2" name="Retângulo 1"/>
            <p:cNvSpPr/>
            <p:nvPr/>
          </p:nvSpPr>
          <p:spPr>
            <a:xfrm>
              <a:off x="30224" y="1935991"/>
              <a:ext cx="8502217" cy="310866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43" indent="-285743" defTabSz="685800">
                <a:buFont typeface="Wingdings" panose="05000000000000000000" pitchFamily="2" charset="2"/>
                <a:buChar char="ð"/>
              </a:pPr>
              <a:r>
                <a:rPr lang="pt-BR" sz="1600" kern="0" dirty="0">
                  <a:solidFill>
                    <a:srgbClr val="002060"/>
                  </a:solidFill>
                  <a:latin typeface="Arial Black" panose="020B0A04020102020204" pitchFamily="34" charset="0"/>
                </a:rPr>
                <a:t>Contrabando/Descaminho, falsificação, fraudes, pirataria</a:t>
              </a: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endParaRPr lang="pt-BR" sz="1600" kern="0" dirty="0">
                <a:solidFill>
                  <a:srgbClr val="002060"/>
                </a:solidFill>
                <a:latin typeface="Arial Black" panose="020B0A04020102020204" pitchFamily="34" charset="0"/>
              </a:endParaRP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r>
                <a:rPr lang="pt-BR" sz="1600" kern="0" dirty="0">
                  <a:solidFill>
                    <a:srgbClr val="002060"/>
                  </a:solidFill>
                  <a:latin typeface="Arial Black" panose="020B0A04020102020204" pitchFamily="34" charset="0"/>
                </a:rPr>
                <a:t>Desrespeita direitos, normas regulamentares, posturas municipais</a:t>
              </a: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endParaRPr lang="pt-BR" sz="1600" kern="0" dirty="0">
                <a:solidFill>
                  <a:srgbClr val="002060"/>
                </a:solidFill>
                <a:latin typeface="Arial Black" panose="020B0A04020102020204" pitchFamily="34" charset="0"/>
              </a:endParaRP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r>
                <a:rPr lang="pt-BR" sz="1600" kern="0" dirty="0">
                  <a:solidFill>
                    <a:srgbClr val="002060"/>
                  </a:solidFill>
                  <a:latin typeface="Arial Black" panose="020B0A04020102020204" pitchFamily="34" charset="0"/>
                </a:rPr>
                <a:t>Não respeita a legislação trabalhista e previdenciária</a:t>
              </a: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endParaRPr lang="pt-BR" sz="1600" kern="0" dirty="0">
                <a:solidFill>
                  <a:srgbClr val="002060"/>
                </a:solidFill>
                <a:latin typeface="Arial Black" panose="020B0A04020102020204" pitchFamily="34" charset="0"/>
              </a:endParaRP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r>
                <a:rPr lang="pt-BR" sz="1600" kern="0" dirty="0">
                  <a:solidFill>
                    <a:srgbClr val="002060"/>
                  </a:solidFill>
                  <a:latin typeface="Arial Black" panose="020B0A04020102020204" pitchFamily="34" charset="0"/>
                </a:rPr>
                <a:t>Sonega impostos</a:t>
              </a: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endParaRPr lang="pt-BR" sz="1600" kern="0" dirty="0">
                <a:solidFill>
                  <a:srgbClr val="002060"/>
                </a:solidFill>
                <a:latin typeface="Arial Black" panose="020B0A04020102020204" pitchFamily="34" charset="0"/>
              </a:endParaRP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r>
                <a:rPr lang="pt-BR" sz="1600" kern="0" dirty="0">
                  <a:solidFill>
                    <a:srgbClr val="002060"/>
                  </a:solidFill>
                  <a:latin typeface="Arial Black" panose="020B0A04020102020204" pitchFamily="34" charset="0"/>
                </a:rPr>
                <a:t>Devedores contumazes (Cigarros: &gt; R$ 17 bi; Refrigerantes: &gt; R$ 4 bi (só uma empresa, conforme notícia recente); Combustíveis: &gt; R$ 20 bi de passivo e perdas anuais de R$ 4.8 bi)</a:t>
              </a: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endParaRPr lang="pt-BR" sz="1600" kern="0" dirty="0">
                <a:solidFill>
                  <a:srgbClr val="002060"/>
                </a:solidFill>
                <a:latin typeface="Arial Black" panose="020B0A04020102020204" pitchFamily="34" charset="0"/>
              </a:endParaRP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r>
                <a:rPr lang="pt-BR" sz="1600" kern="0" dirty="0">
                  <a:solidFill>
                    <a:srgbClr val="002060"/>
                  </a:solidFill>
                  <a:latin typeface="Arial Black" panose="020B0A04020102020204" pitchFamily="34" charset="0"/>
                </a:rPr>
                <a:t>Financia o crime organizado</a:t>
              </a: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endParaRPr lang="pt-BR" sz="1600" kern="0" dirty="0">
                <a:solidFill>
                  <a:srgbClr val="002060"/>
                </a:solidFill>
                <a:latin typeface="Arial Black" panose="020B0A04020102020204" pitchFamily="34" charset="0"/>
              </a:endParaRP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r>
                <a:rPr lang="pt-BR" sz="1600" kern="0" dirty="0">
                  <a:solidFill>
                    <a:srgbClr val="002060"/>
                  </a:solidFill>
                  <a:latin typeface="Arial Black" panose="020B0A04020102020204" pitchFamily="34" charset="0"/>
                </a:rPr>
                <a:t>Perdas de 15 setores produtivos em 2017 &gt; R$ 100 bilhões + estimativa de evasão fiscal decorrente de R$ 46 bilhões = R$ 146 bilhões</a:t>
              </a:r>
            </a:p>
          </p:txBody>
        </p:sp>
        <p:sp>
          <p:nvSpPr>
            <p:cNvPr id="15" name="CaixaDeTexto 14"/>
            <p:cNvSpPr txBox="1"/>
            <p:nvPr/>
          </p:nvSpPr>
          <p:spPr>
            <a:xfrm>
              <a:off x="30224" y="935407"/>
              <a:ext cx="9036496" cy="645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lnSpc>
                  <a:spcPct val="150000"/>
                </a:lnSpc>
              </a:pPr>
              <a:r>
                <a:rPr lang="pt-BR" sz="3600" kern="0" dirty="0">
                  <a:solidFill>
                    <a:srgbClr val="002060"/>
                  </a:solidFill>
                  <a:latin typeface="Arial Black" panose="020B0A04020102020204" pitchFamily="34" charset="0"/>
                </a:rPr>
                <a:t>Mercado ilegal</a:t>
              </a:r>
              <a:endParaRPr lang="pt-BR" sz="2400" kern="0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49023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tângulo 1">
            <a:extLst>
              <a:ext uri="{FF2B5EF4-FFF2-40B4-BE49-F238E27FC236}">
                <a16:creationId xmlns:a16="http://schemas.microsoft.com/office/drawing/2014/main" id="{731DCC3F-54B4-403A-98B0-F7163201DDFF}"/>
              </a:ext>
            </a:extLst>
          </p:cNvPr>
          <p:cNvSpPr/>
          <p:nvPr/>
        </p:nvSpPr>
        <p:spPr>
          <a:xfrm>
            <a:off x="315758" y="-80085"/>
            <a:ext cx="864096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Há</a:t>
            </a:r>
            <a:r>
              <a:rPr lang="en-US" sz="24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US" sz="2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uma</a:t>
            </a:r>
            <a:r>
              <a:rPr lang="en-US" sz="24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US" sz="2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infinidade</a:t>
            </a:r>
            <a:r>
              <a:rPr lang="en-US" sz="2400" b="1" dirty="0">
                <a:solidFill>
                  <a:srgbClr val="002060"/>
                </a:solidFill>
                <a:latin typeface="Arial Black" panose="020B0A04020102020204" pitchFamily="34" charset="0"/>
              </a:rPr>
              <a:t> de </a:t>
            </a:r>
            <a:r>
              <a:rPr lang="en-US" sz="2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marcas</a:t>
            </a:r>
            <a:r>
              <a:rPr lang="en-US" sz="2400" b="1" dirty="0">
                <a:solidFill>
                  <a:srgbClr val="002060"/>
                </a:solidFill>
                <a:latin typeface="Arial Black" panose="020B0A04020102020204" pitchFamily="34" charset="0"/>
              </a:rPr>
              <a:t> do </a:t>
            </a:r>
            <a:r>
              <a:rPr lang="en-US" sz="2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contrabando</a:t>
            </a:r>
            <a:r>
              <a:rPr lang="en-US" sz="24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US" sz="2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vindas</a:t>
            </a:r>
            <a:r>
              <a:rPr lang="en-US" sz="2400" b="1" dirty="0">
                <a:solidFill>
                  <a:srgbClr val="002060"/>
                </a:solidFill>
                <a:latin typeface="Arial Black" panose="020B0A04020102020204" pitchFamily="34" charset="0"/>
              </a:rPr>
              <a:t> do </a:t>
            </a:r>
            <a:r>
              <a:rPr lang="en-US" sz="24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Paraguai</a:t>
            </a:r>
            <a:endParaRPr lang="en-US" sz="2400" b="1" dirty="0">
              <a:solidFill>
                <a:srgbClr val="002060"/>
              </a:solidFill>
              <a:latin typeface="Arial Black" panose="020B0A040201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0F3E1CF-9102-405B-8BC8-8F72E501411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76290" y="4895853"/>
            <a:ext cx="1162832" cy="170159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932A2A1-2C29-4AE1-8EE5-6102BCBC09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2959" y="918002"/>
            <a:ext cx="1364770" cy="20242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4340665-C9C8-4320-8148-3EC7F4CEED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7099" y="2989815"/>
            <a:ext cx="1194207" cy="16439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B883EBE-66B9-419B-8D0B-000E7AB335B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656" y="2999273"/>
            <a:ext cx="1071365" cy="1624989"/>
          </a:xfrm>
          <a:prstGeom prst="rect">
            <a:avLst/>
          </a:prstGeom>
          <a:noFill/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</p:pic>
      <p:pic>
        <p:nvPicPr>
          <p:cNvPr id="9" name="Picture 20">
            <a:extLst>
              <a:ext uri="{FF2B5EF4-FFF2-40B4-BE49-F238E27FC236}">
                <a16:creationId xmlns:a16="http://schemas.microsoft.com/office/drawing/2014/main" id="{8CAEFA6B-B902-447E-98ED-EAFB38FC69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95" y="2989814"/>
            <a:ext cx="1037164" cy="1632007"/>
          </a:xfrm>
          <a:prstGeom prst="rect">
            <a:avLst/>
          </a:prstGeom>
          <a:noFill/>
          <a:ln w="9525" algn="ctr">
            <a:solidFill>
              <a:srgbClr val="C0C0C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1" name="Picture 5">
            <a:extLst>
              <a:ext uri="{FF2B5EF4-FFF2-40B4-BE49-F238E27FC236}">
                <a16:creationId xmlns:a16="http://schemas.microsoft.com/office/drawing/2014/main" id="{B3DDE731-F41E-4534-A687-76A0DDF7CEF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0983" y="3034527"/>
            <a:ext cx="965234" cy="1589736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>
            <a:extLst>
              <a:ext uri="{FF2B5EF4-FFF2-40B4-BE49-F238E27FC236}">
                <a16:creationId xmlns:a16="http://schemas.microsoft.com/office/drawing/2014/main" id="{72874D61-3E90-4880-AA6B-966D18BCC1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4771" y="3034527"/>
            <a:ext cx="1177379" cy="1699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1">
            <a:extLst>
              <a:ext uri="{FF2B5EF4-FFF2-40B4-BE49-F238E27FC236}">
                <a16:creationId xmlns:a16="http://schemas.microsoft.com/office/drawing/2014/main" id="{1A3F6A4D-3EBB-41F4-A46A-6B68878937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0820" y="2999273"/>
            <a:ext cx="1058939" cy="1634449"/>
          </a:xfrm>
          <a:prstGeom prst="rect">
            <a:avLst/>
          </a:prstGeom>
          <a:noFill/>
          <a:ln w="9525" algn="ctr">
            <a:solidFill>
              <a:srgbClr val="C0C0C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CD18204-D714-4740-9D05-BCB95A7F566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6290" y="2993505"/>
            <a:ext cx="1024124" cy="1624624"/>
          </a:xfrm>
          <a:prstGeom prst="rect">
            <a:avLst/>
          </a:prstGeom>
          <a:noFill/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BAA5761-565B-474C-9E25-68FAD89B5EE5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656" y="4901418"/>
            <a:ext cx="1071365" cy="1699565"/>
          </a:xfrm>
          <a:prstGeom prst="rect">
            <a:avLst/>
          </a:prstGeom>
          <a:noFill/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</p:pic>
      <p:pic>
        <p:nvPicPr>
          <p:cNvPr id="16" name="Picture 27">
            <a:extLst>
              <a:ext uri="{FF2B5EF4-FFF2-40B4-BE49-F238E27FC236}">
                <a16:creationId xmlns:a16="http://schemas.microsoft.com/office/drawing/2014/main" id="{AA617306-6401-4A4D-BF93-67FE4592741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3322" y="4901418"/>
            <a:ext cx="1071647" cy="1699565"/>
          </a:xfrm>
          <a:prstGeom prst="rect">
            <a:avLst/>
          </a:prstGeom>
          <a:noFill/>
          <a:ln w="9525" algn="ctr">
            <a:solidFill>
              <a:srgbClr val="C0C0C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FAAD526-518E-44E1-9C11-2BBC45188ED7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3756" y="4901419"/>
            <a:ext cx="1120637" cy="169956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E08BFFE-67A7-4972-83C4-019620734F4F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9288" y="4914198"/>
            <a:ext cx="1110471" cy="1719092"/>
          </a:xfrm>
          <a:prstGeom prst="rect">
            <a:avLst/>
          </a:prstGeom>
          <a:noFill/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78A5765-C12A-4FB6-8E94-49073058758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6258" y="4927091"/>
            <a:ext cx="1083525" cy="1673893"/>
          </a:xfrm>
          <a:prstGeom prst="rect">
            <a:avLst/>
          </a:prstGeom>
          <a:noFill/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7429281-14DB-4FD1-966F-D9647D4C1B08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64"/>
          <a:stretch/>
        </p:blipFill>
        <p:spPr>
          <a:xfrm>
            <a:off x="5365371" y="4927091"/>
            <a:ext cx="1121430" cy="1673893"/>
          </a:xfrm>
          <a:prstGeom prst="rect">
            <a:avLst/>
          </a:prstGeom>
        </p:spPr>
      </p:pic>
      <p:pic>
        <p:nvPicPr>
          <p:cNvPr id="5122" name="Picture 2" descr="Image result for cigarro eight paraguai">
            <a:extLst>
              <a:ext uri="{FF2B5EF4-FFF2-40B4-BE49-F238E27FC236}">
                <a16:creationId xmlns:a16="http://schemas.microsoft.com/office/drawing/2014/main" id="{6741661B-5779-4C00-96A1-8D82ABA46C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007" y="834779"/>
            <a:ext cx="1278630" cy="2050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524e6b27-d997-4ab0-8755-e38d13924d64@eurprd01"/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72" t="11882" r="8646" b="12267"/>
          <a:stretch/>
        </p:blipFill>
        <p:spPr bwMode="auto">
          <a:xfrm rot="5400000">
            <a:off x="4666972" y="1194344"/>
            <a:ext cx="1981791" cy="1296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 descr="30e2bc7c-4ec1-4413-b82b-b59486d878d4@eurprd01"/>
          <p:cNvPicPr>
            <a:picLocks noChangeAspect="1"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6" t="10697" r="3644" b="16890"/>
          <a:stretch/>
        </p:blipFill>
        <p:spPr bwMode="auto">
          <a:xfrm rot="5400000">
            <a:off x="5900618" y="1240103"/>
            <a:ext cx="2007310" cy="1196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30762188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323528" y="2636912"/>
            <a:ext cx="842493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002060"/>
                </a:solidFill>
                <a:latin typeface="Arial Black" panose="020B0A04020102020204" pitchFamily="34" charset="0"/>
              </a:rPr>
              <a:t>O </a:t>
            </a:r>
            <a:r>
              <a:rPr lang="en-US" sz="28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mercado</a:t>
            </a:r>
            <a:r>
              <a:rPr lang="en-US" sz="28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US" sz="28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ilegal</a:t>
            </a:r>
            <a:r>
              <a:rPr lang="en-US" sz="2800" b="1" dirty="0">
                <a:solidFill>
                  <a:srgbClr val="002060"/>
                </a:solidFill>
                <a:latin typeface="Arial Black" panose="020B0A04020102020204" pitchFamily="34" charset="0"/>
              </a:rPr>
              <a:t> no </a:t>
            </a:r>
            <a:r>
              <a:rPr lang="en-US" sz="28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Brasil</a:t>
            </a:r>
            <a:r>
              <a:rPr lang="en-US" sz="2800" b="1" dirty="0">
                <a:solidFill>
                  <a:srgbClr val="002060"/>
                </a:solidFill>
                <a:latin typeface="Arial Black" panose="020B0A04020102020204" pitchFamily="34" charset="0"/>
              </a:rPr>
              <a:t> é o </a:t>
            </a:r>
            <a:r>
              <a:rPr lang="en-US" sz="28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maior</a:t>
            </a:r>
            <a:r>
              <a:rPr lang="en-US" sz="2800" b="1" dirty="0">
                <a:solidFill>
                  <a:srgbClr val="002060"/>
                </a:solidFill>
                <a:latin typeface="Arial Black" panose="020B0A04020102020204" pitchFamily="34" charset="0"/>
              </a:rPr>
              <a:t> do </a:t>
            </a:r>
            <a:r>
              <a:rPr lang="en-US" sz="28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mundo</a:t>
            </a:r>
            <a:r>
              <a:rPr lang="en-US" sz="2800" b="1" dirty="0">
                <a:solidFill>
                  <a:srgbClr val="002060"/>
                </a:solidFill>
                <a:latin typeface="Arial Black" panose="020B0A04020102020204" pitchFamily="34" charset="0"/>
              </a:rPr>
              <a:t>!!!!!</a:t>
            </a:r>
          </a:p>
        </p:txBody>
      </p:sp>
    </p:spTree>
    <p:extLst>
      <p:ext uri="{BB962C8B-B14F-4D97-AF65-F5344CB8AC3E}">
        <p14:creationId xmlns:p14="http://schemas.microsoft.com/office/powerpoint/2010/main" val="931864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Agrupar 2"/>
          <p:cNvGrpSpPr/>
          <p:nvPr/>
        </p:nvGrpSpPr>
        <p:grpSpPr>
          <a:xfrm>
            <a:off x="0" y="0"/>
            <a:ext cx="9144000" cy="6918191"/>
            <a:chOff x="0" y="764704"/>
            <a:chExt cx="9144000" cy="5256584"/>
          </a:xfrm>
        </p:grpSpPr>
        <p:pic>
          <p:nvPicPr>
            <p:cNvPr id="2" name="Imagem 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764705"/>
              <a:ext cx="9144000" cy="5243275"/>
            </a:xfrm>
            <a:prstGeom prst="rect">
              <a:avLst/>
            </a:prstGeom>
          </p:spPr>
        </p:pic>
        <p:sp>
          <p:nvSpPr>
            <p:cNvPr id="5" name="Retângulo 4"/>
            <p:cNvSpPr/>
            <p:nvPr/>
          </p:nvSpPr>
          <p:spPr>
            <a:xfrm>
              <a:off x="0" y="764704"/>
              <a:ext cx="9144000" cy="5256584"/>
            </a:xfrm>
            <a:prstGeom prst="rect">
              <a:avLst/>
            </a:prstGeom>
            <a:solidFill>
              <a:schemeClr val="bg1">
                <a:alpha val="71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16600" kern="0" dirty="0">
                <a:solidFill>
                  <a:srgbClr val="002060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CaixaDeTexto 6"/>
            <p:cNvSpPr txBox="1"/>
            <p:nvPr/>
          </p:nvSpPr>
          <p:spPr>
            <a:xfrm>
              <a:off x="0" y="764704"/>
              <a:ext cx="9071992" cy="7015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lnSpc>
                  <a:spcPct val="150000"/>
                </a:lnSpc>
              </a:pPr>
              <a:r>
                <a:rPr lang="pt-BR" sz="3600" kern="0" dirty="0">
                  <a:solidFill>
                    <a:srgbClr val="002060"/>
                  </a:solidFill>
                  <a:latin typeface="Arial Black" panose="020B0A04020102020204" pitchFamily="34" charset="0"/>
                </a:rPr>
                <a:t>Contrabando de cigarros</a:t>
              </a:r>
              <a:endParaRPr lang="pt-BR" sz="2400" kern="0" dirty="0">
                <a:solidFill>
                  <a:srgbClr val="002060"/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8" name="Retângulo 7"/>
            <p:cNvSpPr/>
            <p:nvPr/>
          </p:nvSpPr>
          <p:spPr>
            <a:xfrm>
              <a:off x="35496" y="1636185"/>
              <a:ext cx="9108504" cy="343766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43" indent="-285743" defTabSz="685800">
                <a:buFont typeface="Wingdings" panose="05000000000000000000" pitchFamily="2" charset="2"/>
                <a:buChar char="ð"/>
              </a:pPr>
              <a:r>
                <a:rPr lang="pt-BR" kern="0" dirty="0">
                  <a:solidFill>
                    <a:srgbClr val="002060"/>
                  </a:solidFill>
                  <a:latin typeface="Arial Black" panose="020B0A04020102020204" pitchFamily="34" charset="0"/>
                </a:rPr>
                <a:t>Representa 67% das apreensões do Brasil;</a:t>
              </a: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endParaRPr lang="pt-BR" kern="0" dirty="0">
                <a:solidFill>
                  <a:srgbClr val="002060"/>
                </a:solidFill>
                <a:latin typeface="Arial Black" panose="020B0A04020102020204" pitchFamily="34" charset="0"/>
              </a:endParaRP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r>
                <a:rPr lang="pt-BR" kern="0" dirty="0">
                  <a:solidFill>
                    <a:srgbClr val="002060"/>
                  </a:solidFill>
                  <a:latin typeface="Arial Black" panose="020B0A04020102020204" pitchFamily="34" charset="0"/>
                </a:rPr>
                <a:t>Nos últimos 5 anos os impostos subiram 140%; mercado legal caiu 8% e ilegal subiu 9%;</a:t>
              </a:r>
            </a:p>
            <a:p>
              <a:pPr defTabSz="685800"/>
              <a:endParaRPr lang="pt-BR" kern="0" dirty="0">
                <a:solidFill>
                  <a:srgbClr val="002060"/>
                </a:solidFill>
                <a:latin typeface="Arial Black" panose="020B0A04020102020204" pitchFamily="34" charset="0"/>
              </a:endParaRP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r>
                <a:rPr lang="pt-BR" kern="0" dirty="0">
                  <a:solidFill>
                    <a:srgbClr val="002060"/>
                  </a:solidFill>
                  <a:latin typeface="Arial Black" panose="020B0A04020102020204" pitchFamily="34" charset="0"/>
                </a:rPr>
                <a:t>54% do mercado nacional é ilegal,  sendo 49% contrabando e 5% fabricados irregularmente no Brasil (devedores contumazes);</a:t>
              </a: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endParaRPr lang="pt-BR" kern="0" dirty="0">
                <a:solidFill>
                  <a:srgbClr val="002060"/>
                </a:solidFill>
                <a:latin typeface="Arial Black" panose="020B0A04020102020204" pitchFamily="34" charset="0"/>
              </a:endParaRP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r>
                <a:rPr lang="pt-BR" kern="0" dirty="0">
                  <a:solidFill>
                    <a:srgbClr val="002060"/>
                  </a:solidFill>
                  <a:latin typeface="Arial Black" panose="020B0A04020102020204" pitchFamily="34" charset="0"/>
                </a:rPr>
                <a:t>As marca líderes do mercado brasileiro são do contrabando;</a:t>
              </a: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endParaRPr lang="pt-BR" kern="0" dirty="0">
                <a:solidFill>
                  <a:srgbClr val="002060"/>
                </a:solidFill>
                <a:latin typeface="Arial Black" panose="020B0A04020102020204" pitchFamily="34" charset="0"/>
              </a:endParaRP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r>
                <a:rPr lang="pt-BR" kern="0" dirty="0">
                  <a:solidFill>
                    <a:srgbClr val="002060"/>
                  </a:solidFill>
                  <a:latin typeface="Arial Black" panose="020B0A04020102020204" pitchFamily="34" charset="0"/>
                </a:rPr>
                <a:t>Impostos: Paraguai : 18%; Brasil: 70 a 90%;</a:t>
              </a: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endParaRPr lang="pt-BR" kern="0" dirty="0">
                <a:solidFill>
                  <a:srgbClr val="002060"/>
                </a:solidFill>
                <a:latin typeface="Arial Black" panose="020B0A04020102020204" pitchFamily="34" charset="0"/>
              </a:endParaRP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r>
                <a:rPr lang="pt-BR" kern="0" dirty="0">
                  <a:solidFill>
                    <a:srgbClr val="002060"/>
                  </a:solidFill>
                  <a:latin typeface="Arial Black" panose="020B0A04020102020204" pitchFamily="34" charset="0"/>
                </a:rPr>
                <a:t>Preços praticados: Legal - R$ 7,46 (média) X Ilegal - R$ 3,31 (média);</a:t>
              </a: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endParaRPr lang="pt-BR" kern="0" dirty="0">
                <a:solidFill>
                  <a:srgbClr val="002060"/>
                </a:solidFill>
                <a:latin typeface="Arial Black" panose="020B0A04020102020204" pitchFamily="34" charset="0"/>
              </a:endParaRP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r>
                <a:rPr lang="pt-BR" kern="0" dirty="0">
                  <a:solidFill>
                    <a:srgbClr val="002060"/>
                  </a:solidFill>
                  <a:latin typeface="Arial Black" panose="020B0A04020102020204" pitchFamily="34" charset="0"/>
                </a:rPr>
                <a:t>POR LEI O PREÇO MÍNIMO NÃO PODE SER ABAIXO DE R$ 5,00  </a:t>
              </a:r>
            </a:p>
            <a:p>
              <a:pPr marL="285743" indent="-285743" defTabSz="685800">
                <a:buFont typeface="Wingdings" panose="05000000000000000000" pitchFamily="2" charset="2"/>
                <a:buChar char="ð"/>
              </a:pPr>
              <a:endParaRPr lang="pt-BR" kern="0" dirty="0">
                <a:solidFill>
                  <a:srgbClr val="002060"/>
                </a:solidFill>
                <a:latin typeface="Arial Black" panose="020B0A040201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77004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4">
            <a:extLst>
              <a:ext uri="{FF2B5EF4-FFF2-40B4-BE49-F238E27FC236}">
                <a16:creationId xmlns:a16="http://schemas.microsoft.com/office/drawing/2014/main" id="{4C2CAE00-7E3F-48DE-A2E4-417AE2808912}"/>
              </a:ext>
            </a:extLst>
          </p:cNvPr>
          <p:cNvSpPr txBox="1"/>
          <p:nvPr/>
        </p:nvSpPr>
        <p:spPr>
          <a:xfrm>
            <a:off x="197530" y="226586"/>
            <a:ext cx="97750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spcBef>
                <a:spcPts val="375"/>
              </a:spcBef>
              <a:defRPr/>
            </a:pPr>
            <a:r>
              <a:rPr lang="en-GB" b="1" i="1" kern="0" dirty="0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O </a:t>
            </a:r>
            <a:r>
              <a:rPr lang="en-GB" b="1" i="1" kern="0" dirty="0" err="1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Paraguai</a:t>
            </a:r>
            <a:r>
              <a:rPr lang="en-GB" b="1" i="1" kern="0" dirty="0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 </a:t>
            </a:r>
            <a:r>
              <a:rPr lang="en-GB" b="1" i="1" kern="0" dirty="0" err="1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já</a:t>
            </a:r>
            <a:r>
              <a:rPr lang="en-GB" b="1" i="1" kern="0" dirty="0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 é o </a:t>
            </a:r>
            <a:r>
              <a:rPr lang="en-GB" b="1" i="1" kern="0" dirty="0" err="1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maior</a:t>
            </a:r>
            <a:r>
              <a:rPr lang="en-GB" b="1" i="1" kern="0" dirty="0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 </a:t>
            </a:r>
            <a:r>
              <a:rPr lang="en-GB" b="1" i="1" kern="0" dirty="0" err="1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vendedor</a:t>
            </a:r>
            <a:r>
              <a:rPr lang="en-GB" b="1" i="1" kern="0" dirty="0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 de </a:t>
            </a:r>
            <a:r>
              <a:rPr lang="en-GB" b="1" i="1" kern="0" dirty="0" err="1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cigarros</a:t>
            </a:r>
            <a:r>
              <a:rPr lang="en-GB" b="1" i="1" kern="0" dirty="0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 no Mercado </a:t>
            </a:r>
            <a:r>
              <a:rPr lang="en-GB" b="1" i="1" kern="0" dirty="0" err="1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Brasileiro</a:t>
            </a:r>
            <a:endParaRPr lang="en-GB" b="1" i="1" kern="0" dirty="0">
              <a:solidFill>
                <a:srgbClr val="002060"/>
              </a:solidFill>
              <a:latin typeface="Arial Black" panose="020B0A04020102020204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1B19D63-74BE-4D7C-9406-7B1430A513BD}"/>
              </a:ext>
            </a:extLst>
          </p:cNvPr>
          <p:cNvGrpSpPr/>
          <p:nvPr/>
        </p:nvGrpSpPr>
        <p:grpSpPr>
          <a:xfrm>
            <a:off x="1170270" y="1165643"/>
            <a:ext cx="2140262" cy="1857208"/>
            <a:chOff x="3582730" y="3665945"/>
            <a:chExt cx="1904608" cy="1631196"/>
          </a:xfrm>
        </p:grpSpPr>
        <p:graphicFrame>
          <p:nvGraphicFramePr>
            <p:cNvPr id="9" name="Object 6">
              <a:extLst>
                <a:ext uri="{FF2B5EF4-FFF2-40B4-BE49-F238E27FC236}">
                  <a16:creationId xmlns:a16="http://schemas.microsoft.com/office/drawing/2014/main" id="{039F5205-ABB1-41BC-925D-E3605A071EF9}"/>
                </a:ext>
              </a:extLst>
            </p:cNvPr>
            <p:cNvGraphicFramePr>
              <a:graphicFrameLocks noChangeAspect="1"/>
            </p:cNvGraphicFramePr>
            <p:nvPr>
              <p:extLst/>
            </p:nvPr>
          </p:nvGraphicFramePr>
          <p:xfrm>
            <a:off x="4331031" y="4905029"/>
            <a:ext cx="1093788" cy="39211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080" name="Bitmap Image" r:id="rId4" imgW="1362265" imgH="485586" progId="Paint.Picture">
                    <p:embed/>
                  </p:oleObj>
                </mc:Choice>
                <mc:Fallback>
                  <p:oleObj name="Bitmap Image" r:id="rId4" imgW="1362265" imgH="485586" progId="Paint.Picture">
                    <p:embed/>
                    <p:pic>
                      <p:nvPicPr>
                        <p:cNvPr id="9" name="Object 6">
                          <a:extLst>
                            <a:ext uri="{FF2B5EF4-FFF2-40B4-BE49-F238E27FC236}">
                              <a16:creationId xmlns:a16="http://schemas.microsoft.com/office/drawing/2014/main" id="{039F5205-ABB1-41BC-925D-E3605A071EF9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331031" y="4905029"/>
                          <a:ext cx="1093788" cy="39211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298C0611-BB89-4561-B251-B516C3167AF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82730" y="3665945"/>
              <a:ext cx="1904608" cy="1279658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A18CE508-8041-4D40-BE1A-6CC6D6CE999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524" b="89881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6057" b="15886"/>
          <a:stretch/>
        </p:blipFill>
        <p:spPr>
          <a:xfrm>
            <a:off x="3059832" y="886314"/>
            <a:ext cx="968707" cy="967600"/>
          </a:xfrm>
          <a:prstGeom prst="ellipse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E3F1E4FA-F8C4-4C69-B210-9756D62E14C5}"/>
              </a:ext>
            </a:extLst>
          </p:cNvPr>
          <p:cNvGrpSpPr/>
          <p:nvPr/>
        </p:nvGrpSpPr>
        <p:grpSpPr>
          <a:xfrm>
            <a:off x="3543650" y="2204864"/>
            <a:ext cx="5204814" cy="4536504"/>
            <a:chOff x="292337" y="1200337"/>
            <a:chExt cx="5791285" cy="5277302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C733053E-11C0-47FF-B100-C216CA6C8E82}"/>
                </a:ext>
              </a:extLst>
            </p:cNvPr>
            <p:cNvGrpSpPr/>
            <p:nvPr/>
          </p:nvGrpSpPr>
          <p:grpSpPr>
            <a:xfrm>
              <a:off x="292337" y="1200337"/>
              <a:ext cx="5791285" cy="5277302"/>
              <a:chOff x="957367" y="1519002"/>
              <a:chExt cx="5791285" cy="5277302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77C1180E-C389-4D4B-8E0C-2C7D43E1AF3B}"/>
                  </a:ext>
                </a:extLst>
              </p:cNvPr>
              <p:cNvGrpSpPr/>
              <p:nvPr/>
            </p:nvGrpSpPr>
            <p:grpSpPr>
              <a:xfrm>
                <a:off x="1270646" y="1666115"/>
                <a:ext cx="4914318" cy="4783000"/>
                <a:chOff x="1763688" y="1219040"/>
                <a:chExt cx="5405750" cy="5261300"/>
              </a:xfrm>
            </p:grpSpPr>
            <p:grpSp>
              <p:nvGrpSpPr>
                <p:cNvPr id="36" name="Group 35">
                  <a:extLst>
                    <a:ext uri="{FF2B5EF4-FFF2-40B4-BE49-F238E27FC236}">
                      <a16:creationId xmlns:a16="http://schemas.microsoft.com/office/drawing/2014/main" id="{4EB31D76-A3A9-47BD-8E03-D6759261FD75}"/>
                    </a:ext>
                  </a:extLst>
                </p:cNvPr>
                <p:cNvGrpSpPr/>
                <p:nvPr/>
              </p:nvGrpSpPr>
              <p:grpSpPr>
                <a:xfrm>
                  <a:off x="1763688" y="1219040"/>
                  <a:ext cx="5375372" cy="5112568"/>
                  <a:chOff x="1591070" y="1552724"/>
                  <a:chExt cx="5187950" cy="4900612"/>
                </a:xfrm>
              </p:grpSpPr>
              <p:sp>
                <p:nvSpPr>
                  <p:cNvPr id="46" name="Freeform 42">
                    <a:extLst>
                      <a:ext uri="{FF2B5EF4-FFF2-40B4-BE49-F238E27FC236}">
                        <a16:creationId xmlns:a16="http://schemas.microsoft.com/office/drawing/2014/main" id="{29E04C3A-41B9-4490-96E3-205B7A5035C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659707" y="3886349"/>
                    <a:ext cx="1493838" cy="1171575"/>
                  </a:xfrm>
                  <a:custGeom>
                    <a:avLst/>
                    <a:gdLst>
                      <a:gd name="T0" fmla="*/ 61976 w 941"/>
                      <a:gd name="T1" fmla="*/ 768317 h 776"/>
                      <a:gd name="T2" fmla="*/ 82635 w 941"/>
                      <a:gd name="T3" fmla="*/ 840771 h 776"/>
                      <a:gd name="T4" fmla="*/ 227247 w 941"/>
                      <a:gd name="T5" fmla="*/ 840771 h 776"/>
                      <a:gd name="T6" fmla="*/ 373448 w 941"/>
                      <a:gd name="T7" fmla="*/ 914735 h 776"/>
                      <a:gd name="T8" fmla="*/ 519649 w 941"/>
                      <a:gd name="T9" fmla="*/ 987189 h 776"/>
                      <a:gd name="T10" fmla="*/ 602284 w 941"/>
                      <a:gd name="T11" fmla="*/ 1079267 h 776"/>
                      <a:gd name="T12" fmla="*/ 664261 w 941"/>
                      <a:gd name="T13" fmla="*/ 1151721 h 776"/>
                      <a:gd name="T14" fmla="*/ 789803 w 941"/>
                      <a:gd name="T15" fmla="*/ 1169835 h 776"/>
                      <a:gd name="T16" fmla="*/ 932825 w 941"/>
                      <a:gd name="T17" fmla="*/ 1169835 h 776"/>
                      <a:gd name="T18" fmla="*/ 974143 w 941"/>
                      <a:gd name="T19" fmla="*/ 1079267 h 776"/>
                      <a:gd name="T20" fmla="*/ 1056778 w 941"/>
                      <a:gd name="T21" fmla="*/ 1043040 h 776"/>
                      <a:gd name="T22" fmla="*/ 1223638 w 941"/>
                      <a:gd name="T23" fmla="*/ 932849 h 776"/>
                      <a:gd name="T24" fmla="*/ 1244297 w 941"/>
                      <a:gd name="T25" fmla="*/ 822658 h 776"/>
                      <a:gd name="T26" fmla="*/ 1306273 w 941"/>
                      <a:gd name="T27" fmla="*/ 694353 h 776"/>
                      <a:gd name="T28" fmla="*/ 1369839 w 941"/>
                      <a:gd name="T29" fmla="*/ 603786 h 776"/>
                      <a:gd name="T30" fmla="*/ 1411157 w 941"/>
                      <a:gd name="T31" fmla="*/ 529822 h 776"/>
                      <a:gd name="T32" fmla="*/ 1411157 w 941"/>
                      <a:gd name="T33" fmla="*/ 457368 h 776"/>
                      <a:gd name="T34" fmla="*/ 1390498 w 941"/>
                      <a:gd name="T35" fmla="*/ 419631 h 776"/>
                      <a:gd name="T36" fmla="*/ 1431815 w 941"/>
                      <a:gd name="T37" fmla="*/ 365290 h 776"/>
                      <a:gd name="T38" fmla="*/ 1493792 w 941"/>
                      <a:gd name="T39" fmla="*/ 310950 h 776"/>
                      <a:gd name="T40" fmla="*/ 1493792 w 941"/>
                      <a:gd name="T41" fmla="*/ 255099 h 776"/>
                      <a:gd name="T42" fmla="*/ 1473133 w 941"/>
                      <a:gd name="T43" fmla="*/ 218872 h 776"/>
                      <a:gd name="T44" fmla="*/ 1390498 w 941"/>
                      <a:gd name="T45" fmla="*/ 182645 h 776"/>
                      <a:gd name="T46" fmla="*/ 1223638 w 941"/>
                      <a:gd name="T47" fmla="*/ 164532 h 776"/>
                      <a:gd name="T48" fmla="*/ 1161662 w 941"/>
                      <a:gd name="T49" fmla="*/ 108681 h 776"/>
                      <a:gd name="T50" fmla="*/ 1056778 w 941"/>
                      <a:gd name="T51" fmla="*/ 72454 h 776"/>
                      <a:gd name="T52" fmla="*/ 994802 w 941"/>
                      <a:gd name="T53" fmla="*/ 36227 h 776"/>
                      <a:gd name="T54" fmla="*/ 912167 w 941"/>
                      <a:gd name="T55" fmla="*/ 0 h 776"/>
                      <a:gd name="T56" fmla="*/ 829531 w 941"/>
                      <a:gd name="T57" fmla="*/ 54341 h 776"/>
                      <a:gd name="T58" fmla="*/ 765966 w 941"/>
                      <a:gd name="T59" fmla="*/ 90568 h 776"/>
                      <a:gd name="T60" fmla="*/ 684919 w 941"/>
                      <a:gd name="T61" fmla="*/ 108681 h 776"/>
                      <a:gd name="T62" fmla="*/ 581625 w 941"/>
                      <a:gd name="T63" fmla="*/ 164532 h 776"/>
                      <a:gd name="T64" fmla="*/ 540308 w 941"/>
                      <a:gd name="T65" fmla="*/ 218872 h 776"/>
                      <a:gd name="T66" fmla="*/ 560967 w 941"/>
                      <a:gd name="T67" fmla="*/ 273213 h 776"/>
                      <a:gd name="T68" fmla="*/ 560967 w 941"/>
                      <a:gd name="T69" fmla="*/ 347177 h 776"/>
                      <a:gd name="T70" fmla="*/ 519649 w 941"/>
                      <a:gd name="T71" fmla="*/ 419631 h 776"/>
                      <a:gd name="T72" fmla="*/ 476742 w 941"/>
                      <a:gd name="T73" fmla="*/ 493595 h 776"/>
                      <a:gd name="T74" fmla="*/ 352789 w 941"/>
                      <a:gd name="T75" fmla="*/ 566049 h 776"/>
                      <a:gd name="T76" fmla="*/ 290813 w 941"/>
                      <a:gd name="T77" fmla="*/ 566049 h 776"/>
                      <a:gd name="T78" fmla="*/ 185929 w 941"/>
                      <a:gd name="T79" fmla="*/ 640013 h 776"/>
                      <a:gd name="T80" fmla="*/ 0 w 941"/>
                      <a:gd name="T81" fmla="*/ 730581 h 77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</a:gdLst>
                    <a:ahLst/>
                    <a:cxnLst>
                      <a:cxn ang="T82">
                        <a:pos x="T0" y="T1"/>
                      </a:cxn>
                      <a:cxn ang="T83">
                        <a:pos x="T2" y="T3"/>
                      </a:cxn>
                      <a:cxn ang="T84">
                        <a:pos x="T4" y="T5"/>
                      </a:cxn>
                      <a:cxn ang="T85">
                        <a:pos x="T6" y="T7"/>
                      </a:cxn>
                      <a:cxn ang="T86">
                        <a:pos x="T8" y="T9"/>
                      </a:cxn>
                      <a:cxn ang="T87">
                        <a:pos x="T10" y="T11"/>
                      </a:cxn>
                      <a:cxn ang="T88">
                        <a:pos x="T12" y="T13"/>
                      </a:cxn>
                      <a:cxn ang="T89">
                        <a:pos x="T14" y="T15"/>
                      </a:cxn>
                      <a:cxn ang="T90">
                        <a:pos x="T16" y="T17"/>
                      </a:cxn>
                      <a:cxn ang="T91">
                        <a:pos x="T18" y="T19"/>
                      </a:cxn>
                      <a:cxn ang="T92">
                        <a:pos x="T20" y="T21"/>
                      </a:cxn>
                      <a:cxn ang="T93">
                        <a:pos x="T22" y="T23"/>
                      </a:cxn>
                      <a:cxn ang="T94">
                        <a:pos x="T24" y="T25"/>
                      </a:cxn>
                      <a:cxn ang="T95">
                        <a:pos x="T26" y="T27"/>
                      </a:cxn>
                      <a:cxn ang="T96">
                        <a:pos x="T28" y="T29"/>
                      </a:cxn>
                      <a:cxn ang="T97">
                        <a:pos x="T30" y="T31"/>
                      </a:cxn>
                      <a:cxn ang="T98">
                        <a:pos x="T32" y="T33"/>
                      </a:cxn>
                      <a:cxn ang="T99">
                        <a:pos x="T34" y="T35"/>
                      </a:cxn>
                      <a:cxn ang="T100">
                        <a:pos x="T36" y="T37"/>
                      </a:cxn>
                      <a:cxn ang="T101">
                        <a:pos x="T38" y="T39"/>
                      </a:cxn>
                      <a:cxn ang="T102">
                        <a:pos x="T40" y="T41"/>
                      </a:cxn>
                      <a:cxn ang="T103">
                        <a:pos x="T42" y="T43"/>
                      </a:cxn>
                      <a:cxn ang="T104">
                        <a:pos x="T44" y="T45"/>
                      </a:cxn>
                      <a:cxn ang="T105">
                        <a:pos x="T46" y="T47"/>
                      </a:cxn>
                      <a:cxn ang="T106">
                        <a:pos x="T48" y="T49"/>
                      </a:cxn>
                      <a:cxn ang="T107">
                        <a:pos x="T50" y="T51"/>
                      </a:cxn>
                      <a:cxn ang="T108">
                        <a:pos x="T52" y="T53"/>
                      </a:cxn>
                      <a:cxn ang="T109">
                        <a:pos x="T54" y="T55"/>
                      </a:cxn>
                      <a:cxn ang="T110">
                        <a:pos x="T56" y="T57"/>
                      </a:cxn>
                      <a:cxn ang="T111">
                        <a:pos x="T58" y="T59"/>
                      </a:cxn>
                      <a:cxn ang="T112">
                        <a:pos x="T60" y="T61"/>
                      </a:cxn>
                      <a:cxn ang="T113">
                        <a:pos x="T62" y="T63"/>
                      </a:cxn>
                      <a:cxn ang="T114">
                        <a:pos x="T64" y="T65"/>
                      </a:cxn>
                      <a:cxn ang="T115">
                        <a:pos x="T66" y="T67"/>
                      </a:cxn>
                      <a:cxn ang="T116">
                        <a:pos x="T68" y="T69"/>
                      </a:cxn>
                      <a:cxn ang="T117">
                        <a:pos x="T70" y="T71"/>
                      </a:cxn>
                      <a:cxn ang="T118">
                        <a:pos x="T72" y="T73"/>
                      </a:cxn>
                      <a:cxn ang="T119">
                        <a:pos x="T74" y="T75"/>
                      </a:cxn>
                      <a:cxn ang="T120">
                        <a:pos x="T76" y="T77"/>
                      </a:cxn>
                      <a:cxn ang="T121">
                        <a:pos x="T78" y="T79"/>
                      </a:cxn>
                      <a:cxn ang="T122">
                        <a:pos x="T80" y="T81"/>
                      </a:cxn>
                    </a:cxnLst>
                    <a:rect l="0" t="0" r="r" b="b"/>
                    <a:pathLst>
                      <a:path w="941" h="776">
                        <a:moveTo>
                          <a:pt x="0" y="484"/>
                        </a:moveTo>
                        <a:lnTo>
                          <a:pt x="39" y="509"/>
                        </a:lnTo>
                        <a:lnTo>
                          <a:pt x="52" y="545"/>
                        </a:lnTo>
                        <a:lnTo>
                          <a:pt x="52" y="557"/>
                        </a:lnTo>
                        <a:lnTo>
                          <a:pt x="65" y="545"/>
                        </a:lnTo>
                        <a:lnTo>
                          <a:pt x="143" y="557"/>
                        </a:lnTo>
                        <a:lnTo>
                          <a:pt x="196" y="581"/>
                        </a:lnTo>
                        <a:lnTo>
                          <a:pt x="235" y="606"/>
                        </a:lnTo>
                        <a:lnTo>
                          <a:pt x="287" y="618"/>
                        </a:lnTo>
                        <a:lnTo>
                          <a:pt x="327" y="654"/>
                        </a:lnTo>
                        <a:lnTo>
                          <a:pt x="366" y="691"/>
                        </a:lnTo>
                        <a:lnTo>
                          <a:pt x="379" y="715"/>
                        </a:lnTo>
                        <a:lnTo>
                          <a:pt x="405" y="739"/>
                        </a:lnTo>
                        <a:lnTo>
                          <a:pt x="418" y="763"/>
                        </a:lnTo>
                        <a:lnTo>
                          <a:pt x="431" y="775"/>
                        </a:lnTo>
                        <a:lnTo>
                          <a:pt x="497" y="775"/>
                        </a:lnTo>
                        <a:lnTo>
                          <a:pt x="535" y="763"/>
                        </a:lnTo>
                        <a:lnTo>
                          <a:pt x="587" y="775"/>
                        </a:lnTo>
                        <a:lnTo>
                          <a:pt x="574" y="727"/>
                        </a:lnTo>
                        <a:lnTo>
                          <a:pt x="613" y="715"/>
                        </a:lnTo>
                        <a:lnTo>
                          <a:pt x="639" y="715"/>
                        </a:lnTo>
                        <a:lnTo>
                          <a:pt x="665" y="691"/>
                        </a:lnTo>
                        <a:lnTo>
                          <a:pt x="744" y="666"/>
                        </a:lnTo>
                        <a:lnTo>
                          <a:pt x="770" y="618"/>
                        </a:lnTo>
                        <a:lnTo>
                          <a:pt x="770" y="581"/>
                        </a:lnTo>
                        <a:lnTo>
                          <a:pt x="783" y="545"/>
                        </a:lnTo>
                        <a:lnTo>
                          <a:pt x="809" y="497"/>
                        </a:lnTo>
                        <a:lnTo>
                          <a:pt x="822" y="460"/>
                        </a:lnTo>
                        <a:lnTo>
                          <a:pt x="862" y="436"/>
                        </a:lnTo>
                        <a:lnTo>
                          <a:pt x="862" y="400"/>
                        </a:lnTo>
                        <a:lnTo>
                          <a:pt x="888" y="375"/>
                        </a:lnTo>
                        <a:lnTo>
                          <a:pt x="888" y="351"/>
                        </a:lnTo>
                        <a:lnTo>
                          <a:pt x="888" y="327"/>
                        </a:lnTo>
                        <a:lnTo>
                          <a:pt x="888" y="303"/>
                        </a:lnTo>
                        <a:lnTo>
                          <a:pt x="875" y="291"/>
                        </a:lnTo>
                        <a:lnTo>
                          <a:pt x="875" y="278"/>
                        </a:lnTo>
                        <a:lnTo>
                          <a:pt x="888" y="254"/>
                        </a:lnTo>
                        <a:lnTo>
                          <a:pt x="901" y="242"/>
                        </a:lnTo>
                        <a:lnTo>
                          <a:pt x="914" y="230"/>
                        </a:lnTo>
                        <a:lnTo>
                          <a:pt x="940" y="206"/>
                        </a:lnTo>
                        <a:lnTo>
                          <a:pt x="940" y="181"/>
                        </a:lnTo>
                        <a:lnTo>
                          <a:pt x="940" y="169"/>
                        </a:lnTo>
                        <a:lnTo>
                          <a:pt x="940" y="157"/>
                        </a:lnTo>
                        <a:lnTo>
                          <a:pt x="927" y="145"/>
                        </a:lnTo>
                        <a:lnTo>
                          <a:pt x="901" y="145"/>
                        </a:lnTo>
                        <a:lnTo>
                          <a:pt x="875" y="121"/>
                        </a:lnTo>
                        <a:lnTo>
                          <a:pt x="822" y="109"/>
                        </a:lnTo>
                        <a:lnTo>
                          <a:pt x="770" y="109"/>
                        </a:lnTo>
                        <a:lnTo>
                          <a:pt x="744" y="84"/>
                        </a:lnTo>
                        <a:lnTo>
                          <a:pt x="731" y="72"/>
                        </a:lnTo>
                        <a:lnTo>
                          <a:pt x="692" y="60"/>
                        </a:lnTo>
                        <a:lnTo>
                          <a:pt x="665" y="48"/>
                        </a:lnTo>
                        <a:lnTo>
                          <a:pt x="652" y="36"/>
                        </a:lnTo>
                        <a:lnTo>
                          <a:pt x="626" y="24"/>
                        </a:lnTo>
                        <a:lnTo>
                          <a:pt x="587" y="12"/>
                        </a:lnTo>
                        <a:lnTo>
                          <a:pt x="574" y="0"/>
                        </a:lnTo>
                        <a:lnTo>
                          <a:pt x="535" y="12"/>
                        </a:lnTo>
                        <a:lnTo>
                          <a:pt x="522" y="36"/>
                        </a:lnTo>
                        <a:lnTo>
                          <a:pt x="497" y="48"/>
                        </a:lnTo>
                        <a:lnTo>
                          <a:pt x="482" y="60"/>
                        </a:lnTo>
                        <a:lnTo>
                          <a:pt x="456" y="60"/>
                        </a:lnTo>
                        <a:lnTo>
                          <a:pt x="431" y="72"/>
                        </a:lnTo>
                        <a:lnTo>
                          <a:pt x="418" y="84"/>
                        </a:lnTo>
                        <a:lnTo>
                          <a:pt x="366" y="109"/>
                        </a:lnTo>
                        <a:lnTo>
                          <a:pt x="340" y="121"/>
                        </a:lnTo>
                        <a:lnTo>
                          <a:pt x="340" y="145"/>
                        </a:lnTo>
                        <a:lnTo>
                          <a:pt x="340" y="169"/>
                        </a:lnTo>
                        <a:lnTo>
                          <a:pt x="353" y="181"/>
                        </a:lnTo>
                        <a:lnTo>
                          <a:pt x="353" y="194"/>
                        </a:lnTo>
                        <a:lnTo>
                          <a:pt x="353" y="230"/>
                        </a:lnTo>
                        <a:lnTo>
                          <a:pt x="340" y="254"/>
                        </a:lnTo>
                        <a:lnTo>
                          <a:pt x="327" y="278"/>
                        </a:lnTo>
                        <a:lnTo>
                          <a:pt x="313" y="303"/>
                        </a:lnTo>
                        <a:lnTo>
                          <a:pt x="300" y="327"/>
                        </a:lnTo>
                        <a:lnTo>
                          <a:pt x="274" y="363"/>
                        </a:lnTo>
                        <a:lnTo>
                          <a:pt x="222" y="375"/>
                        </a:lnTo>
                        <a:lnTo>
                          <a:pt x="196" y="363"/>
                        </a:lnTo>
                        <a:lnTo>
                          <a:pt x="183" y="375"/>
                        </a:lnTo>
                        <a:lnTo>
                          <a:pt x="143" y="400"/>
                        </a:lnTo>
                        <a:lnTo>
                          <a:pt x="117" y="424"/>
                        </a:lnTo>
                        <a:lnTo>
                          <a:pt x="104" y="436"/>
                        </a:lnTo>
                        <a:lnTo>
                          <a:pt x="0" y="484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47" name="Freeform 43">
                    <a:extLst>
                      <a:ext uri="{FF2B5EF4-FFF2-40B4-BE49-F238E27FC236}">
                        <a16:creationId xmlns:a16="http://schemas.microsoft.com/office/drawing/2014/main" id="{8961B29C-9934-463E-A34A-7328A6D784C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16670" y="3246586"/>
                    <a:ext cx="1660525" cy="1292225"/>
                  </a:xfrm>
                  <a:custGeom>
                    <a:avLst/>
                    <a:gdLst>
                      <a:gd name="T0" fmla="*/ 1521323 w 1099"/>
                      <a:gd name="T1" fmla="*/ 34532 h 898"/>
                      <a:gd name="T2" fmla="*/ 1225217 w 1099"/>
                      <a:gd name="T3" fmla="*/ 51798 h 898"/>
                      <a:gd name="T4" fmla="*/ 948750 w 1099"/>
                      <a:gd name="T5" fmla="*/ 69064 h 898"/>
                      <a:gd name="T6" fmla="*/ 731202 w 1099"/>
                      <a:gd name="T7" fmla="*/ 87769 h 898"/>
                      <a:gd name="T8" fmla="*/ 611853 w 1099"/>
                      <a:gd name="T9" fmla="*/ 51798 h 898"/>
                      <a:gd name="T10" fmla="*/ 513654 w 1099"/>
                      <a:gd name="T11" fmla="*/ 69064 h 898"/>
                      <a:gd name="T12" fmla="*/ 374665 w 1099"/>
                      <a:gd name="T13" fmla="*/ 122302 h 898"/>
                      <a:gd name="T14" fmla="*/ 237187 w 1099"/>
                      <a:gd name="T15" fmla="*/ 156834 h 898"/>
                      <a:gd name="T16" fmla="*/ 98199 w 1099"/>
                      <a:gd name="T17" fmla="*/ 156834 h 898"/>
                      <a:gd name="T18" fmla="*/ 0 w 1099"/>
                      <a:gd name="T19" fmla="*/ 139568 h 898"/>
                      <a:gd name="T20" fmla="*/ 0 w 1099"/>
                      <a:gd name="T21" fmla="*/ 208632 h 898"/>
                      <a:gd name="T22" fmla="*/ 58919 w 1099"/>
                      <a:gd name="T23" fmla="*/ 296401 h 898"/>
                      <a:gd name="T24" fmla="*/ 117838 w 1099"/>
                      <a:gd name="T25" fmla="*/ 401437 h 898"/>
                      <a:gd name="T26" fmla="*/ 197908 w 1099"/>
                      <a:gd name="T27" fmla="*/ 505033 h 898"/>
                      <a:gd name="T28" fmla="*/ 138989 w 1099"/>
                      <a:gd name="T29" fmla="*/ 610069 h 898"/>
                      <a:gd name="T30" fmla="*/ 117838 w 1099"/>
                      <a:gd name="T31" fmla="*/ 715104 h 898"/>
                      <a:gd name="T32" fmla="*/ 138989 w 1099"/>
                      <a:gd name="T33" fmla="*/ 820140 h 898"/>
                      <a:gd name="T34" fmla="*/ 315746 w 1099"/>
                      <a:gd name="T35" fmla="*/ 871938 h 898"/>
                      <a:gd name="T36" fmla="*/ 335386 w 1099"/>
                      <a:gd name="T37" fmla="*/ 1028772 h 898"/>
                      <a:gd name="T38" fmla="*/ 454735 w 1099"/>
                      <a:gd name="T39" fmla="*/ 1133807 h 898"/>
                      <a:gd name="T40" fmla="*/ 572573 w 1099"/>
                      <a:gd name="T41" fmla="*/ 1151073 h 898"/>
                      <a:gd name="T42" fmla="*/ 631493 w 1099"/>
                      <a:gd name="T43" fmla="*/ 1237404 h 898"/>
                      <a:gd name="T44" fmla="*/ 809761 w 1099"/>
                      <a:gd name="T45" fmla="*/ 1273375 h 898"/>
                      <a:gd name="T46" fmla="*/ 909470 w 1099"/>
                      <a:gd name="T47" fmla="*/ 1256109 h 898"/>
                      <a:gd name="T48" fmla="*/ 1066588 w 1099"/>
                      <a:gd name="T49" fmla="*/ 1237404 h 898"/>
                      <a:gd name="T50" fmla="*/ 1105868 w 1099"/>
                      <a:gd name="T51" fmla="*/ 1256109 h 898"/>
                      <a:gd name="T52" fmla="*/ 1225217 w 1099"/>
                      <a:gd name="T53" fmla="*/ 1220138 h 898"/>
                      <a:gd name="T54" fmla="*/ 1343055 w 1099"/>
                      <a:gd name="T55" fmla="*/ 1011506 h 898"/>
                      <a:gd name="T56" fmla="*/ 1501683 w 1099"/>
                      <a:gd name="T57" fmla="*/ 837406 h 898"/>
                      <a:gd name="T58" fmla="*/ 1580242 w 1099"/>
                      <a:gd name="T59" fmla="*/ 627335 h 898"/>
                      <a:gd name="T60" fmla="*/ 1560603 w 1099"/>
                      <a:gd name="T61" fmla="*/ 487767 h 898"/>
                      <a:gd name="T62" fmla="*/ 1560603 w 1099"/>
                      <a:gd name="T63" fmla="*/ 330934 h 898"/>
                      <a:gd name="T64" fmla="*/ 1619522 w 1099"/>
                      <a:gd name="T65" fmla="*/ 191366 h 898"/>
                      <a:gd name="T66" fmla="*/ 1658801 w 1099"/>
                      <a:gd name="T67" fmla="*/ 105035 h 898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1099" h="898">
                        <a:moveTo>
                          <a:pt x="1085" y="0"/>
                        </a:moveTo>
                        <a:lnTo>
                          <a:pt x="1007" y="24"/>
                        </a:lnTo>
                        <a:lnTo>
                          <a:pt x="889" y="48"/>
                        </a:lnTo>
                        <a:lnTo>
                          <a:pt x="811" y="36"/>
                        </a:lnTo>
                        <a:lnTo>
                          <a:pt x="719" y="48"/>
                        </a:lnTo>
                        <a:lnTo>
                          <a:pt x="628" y="48"/>
                        </a:lnTo>
                        <a:lnTo>
                          <a:pt x="562" y="48"/>
                        </a:lnTo>
                        <a:lnTo>
                          <a:pt x="484" y="61"/>
                        </a:lnTo>
                        <a:lnTo>
                          <a:pt x="418" y="12"/>
                        </a:lnTo>
                        <a:lnTo>
                          <a:pt x="405" y="36"/>
                        </a:lnTo>
                        <a:lnTo>
                          <a:pt x="379" y="48"/>
                        </a:lnTo>
                        <a:lnTo>
                          <a:pt x="340" y="48"/>
                        </a:lnTo>
                        <a:lnTo>
                          <a:pt x="275" y="73"/>
                        </a:lnTo>
                        <a:lnTo>
                          <a:pt x="248" y="85"/>
                        </a:lnTo>
                        <a:lnTo>
                          <a:pt x="183" y="97"/>
                        </a:lnTo>
                        <a:lnTo>
                          <a:pt x="157" y="109"/>
                        </a:lnTo>
                        <a:lnTo>
                          <a:pt x="65" y="121"/>
                        </a:lnTo>
                        <a:lnTo>
                          <a:pt x="65" y="109"/>
                        </a:lnTo>
                        <a:lnTo>
                          <a:pt x="39" y="97"/>
                        </a:lnTo>
                        <a:lnTo>
                          <a:pt x="0" y="97"/>
                        </a:lnTo>
                        <a:lnTo>
                          <a:pt x="0" y="121"/>
                        </a:lnTo>
                        <a:lnTo>
                          <a:pt x="0" y="145"/>
                        </a:lnTo>
                        <a:lnTo>
                          <a:pt x="0" y="170"/>
                        </a:lnTo>
                        <a:lnTo>
                          <a:pt x="39" y="206"/>
                        </a:lnTo>
                        <a:lnTo>
                          <a:pt x="52" y="242"/>
                        </a:lnTo>
                        <a:lnTo>
                          <a:pt x="78" y="279"/>
                        </a:lnTo>
                        <a:lnTo>
                          <a:pt x="92" y="327"/>
                        </a:lnTo>
                        <a:lnTo>
                          <a:pt x="131" y="351"/>
                        </a:lnTo>
                        <a:lnTo>
                          <a:pt x="118" y="388"/>
                        </a:lnTo>
                        <a:lnTo>
                          <a:pt x="92" y="424"/>
                        </a:lnTo>
                        <a:lnTo>
                          <a:pt x="92" y="460"/>
                        </a:lnTo>
                        <a:lnTo>
                          <a:pt x="78" y="497"/>
                        </a:lnTo>
                        <a:lnTo>
                          <a:pt x="78" y="533"/>
                        </a:lnTo>
                        <a:lnTo>
                          <a:pt x="92" y="570"/>
                        </a:lnTo>
                        <a:lnTo>
                          <a:pt x="157" y="582"/>
                        </a:lnTo>
                        <a:lnTo>
                          <a:pt x="209" y="606"/>
                        </a:lnTo>
                        <a:lnTo>
                          <a:pt x="209" y="642"/>
                        </a:lnTo>
                        <a:lnTo>
                          <a:pt x="222" y="715"/>
                        </a:lnTo>
                        <a:lnTo>
                          <a:pt x="248" y="764"/>
                        </a:lnTo>
                        <a:lnTo>
                          <a:pt x="301" y="788"/>
                        </a:lnTo>
                        <a:lnTo>
                          <a:pt x="340" y="788"/>
                        </a:lnTo>
                        <a:lnTo>
                          <a:pt x="379" y="800"/>
                        </a:lnTo>
                        <a:lnTo>
                          <a:pt x="392" y="812"/>
                        </a:lnTo>
                        <a:lnTo>
                          <a:pt x="418" y="860"/>
                        </a:lnTo>
                        <a:lnTo>
                          <a:pt x="497" y="897"/>
                        </a:lnTo>
                        <a:lnTo>
                          <a:pt x="536" y="885"/>
                        </a:lnTo>
                        <a:lnTo>
                          <a:pt x="562" y="873"/>
                        </a:lnTo>
                        <a:lnTo>
                          <a:pt x="602" y="873"/>
                        </a:lnTo>
                        <a:lnTo>
                          <a:pt x="693" y="873"/>
                        </a:lnTo>
                        <a:lnTo>
                          <a:pt x="706" y="860"/>
                        </a:lnTo>
                        <a:lnTo>
                          <a:pt x="719" y="860"/>
                        </a:lnTo>
                        <a:lnTo>
                          <a:pt x="732" y="873"/>
                        </a:lnTo>
                        <a:lnTo>
                          <a:pt x="771" y="860"/>
                        </a:lnTo>
                        <a:lnTo>
                          <a:pt x="811" y="848"/>
                        </a:lnTo>
                        <a:lnTo>
                          <a:pt x="850" y="800"/>
                        </a:lnTo>
                        <a:lnTo>
                          <a:pt x="889" y="703"/>
                        </a:lnTo>
                        <a:lnTo>
                          <a:pt x="941" y="642"/>
                        </a:lnTo>
                        <a:lnTo>
                          <a:pt x="994" y="582"/>
                        </a:lnTo>
                        <a:lnTo>
                          <a:pt x="1046" y="509"/>
                        </a:lnTo>
                        <a:lnTo>
                          <a:pt x="1046" y="436"/>
                        </a:lnTo>
                        <a:lnTo>
                          <a:pt x="1020" y="376"/>
                        </a:lnTo>
                        <a:lnTo>
                          <a:pt x="1033" y="339"/>
                        </a:lnTo>
                        <a:lnTo>
                          <a:pt x="1033" y="279"/>
                        </a:lnTo>
                        <a:lnTo>
                          <a:pt x="1033" y="230"/>
                        </a:lnTo>
                        <a:lnTo>
                          <a:pt x="1046" y="182"/>
                        </a:lnTo>
                        <a:lnTo>
                          <a:pt x="1072" y="133"/>
                        </a:lnTo>
                        <a:lnTo>
                          <a:pt x="1085" y="109"/>
                        </a:lnTo>
                        <a:lnTo>
                          <a:pt x="1098" y="73"/>
                        </a:lnTo>
                        <a:lnTo>
                          <a:pt x="1085" y="0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48" name="Freeform 44">
                    <a:extLst>
                      <a:ext uri="{FF2B5EF4-FFF2-40B4-BE49-F238E27FC236}">
                        <a16:creationId xmlns:a16="http://schemas.microsoft.com/office/drawing/2014/main" id="{C350F6C4-057D-4346-8807-E4EDCDB887A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480320" y="3733949"/>
                    <a:ext cx="889000" cy="911225"/>
                  </a:xfrm>
                  <a:custGeom>
                    <a:avLst/>
                    <a:gdLst>
                      <a:gd name="T0" fmla="*/ 0 w 588"/>
                      <a:gd name="T1" fmla="*/ 716254 h 632"/>
                      <a:gd name="T2" fmla="*/ 157138 w 588"/>
                      <a:gd name="T3" fmla="*/ 769577 h 632"/>
                      <a:gd name="T4" fmla="*/ 157138 w 588"/>
                      <a:gd name="T5" fmla="*/ 838752 h 632"/>
                      <a:gd name="T6" fmla="*/ 237217 w 588"/>
                      <a:gd name="T7" fmla="*/ 909369 h 632"/>
                      <a:gd name="T8" fmla="*/ 374713 w 588"/>
                      <a:gd name="T9" fmla="*/ 856046 h 632"/>
                      <a:gd name="T10" fmla="*/ 472924 w 588"/>
                      <a:gd name="T11" fmla="*/ 769577 h 632"/>
                      <a:gd name="T12" fmla="*/ 571135 w 588"/>
                      <a:gd name="T13" fmla="*/ 750842 h 632"/>
                      <a:gd name="T14" fmla="*/ 649704 w 588"/>
                      <a:gd name="T15" fmla="*/ 733548 h 632"/>
                      <a:gd name="T16" fmla="*/ 710141 w 588"/>
                      <a:gd name="T17" fmla="*/ 664372 h 632"/>
                      <a:gd name="T18" fmla="*/ 749426 w 588"/>
                      <a:gd name="T19" fmla="*/ 612491 h 632"/>
                      <a:gd name="T20" fmla="*/ 788710 w 588"/>
                      <a:gd name="T21" fmla="*/ 507287 h 632"/>
                      <a:gd name="T22" fmla="*/ 769068 w 588"/>
                      <a:gd name="T23" fmla="*/ 436670 h 632"/>
                      <a:gd name="T24" fmla="*/ 749426 w 588"/>
                      <a:gd name="T25" fmla="*/ 402082 h 632"/>
                      <a:gd name="T26" fmla="*/ 788710 w 588"/>
                      <a:gd name="T27" fmla="*/ 384788 h 632"/>
                      <a:gd name="T28" fmla="*/ 827994 w 588"/>
                      <a:gd name="T29" fmla="*/ 332907 h 632"/>
                      <a:gd name="T30" fmla="*/ 867279 w 588"/>
                      <a:gd name="T31" fmla="*/ 332907 h 632"/>
                      <a:gd name="T32" fmla="*/ 886921 w 588"/>
                      <a:gd name="T33" fmla="*/ 296878 h 632"/>
                      <a:gd name="T34" fmla="*/ 886921 w 588"/>
                      <a:gd name="T35" fmla="*/ 262290 h 632"/>
                      <a:gd name="T36" fmla="*/ 886921 w 588"/>
                      <a:gd name="T37" fmla="*/ 244996 h 632"/>
                      <a:gd name="T38" fmla="*/ 867279 w 588"/>
                      <a:gd name="T39" fmla="*/ 193115 h 632"/>
                      <a:gd name="T40" fmla="*/ 867279 w 588"/>
                      <a:gd name="T41" fmla="*/ 139792 h 632"/>
                      <a:gd name="T42" fmla="*/ 867279 w 588"/>
                      <a:gd name="T43" fmla="*/ 105204 h 632"/>
                      <a:gd name="T44" fmla="*/ 867279 w 588"/>
                      <a:gd name="T45" fmla="*/ 70617 h 632"/>
                      <a:gd name="T46" fmla="*/ 827994 w 588"/>
                      <a:gd name="T47" fmla="*/ 87910 h 632"/>
                      <a:gd name="T48" fmla="*/ 788710 w 588"/>
                      <a:gd name="T49" fmla="*/ 87910 h 632"/>
                      <a:gd name="T50" fmla="*/ 729783 w 588"/>
                      <a:gd name="T51" fmla="*/ 105204 h 632"/>
                      <a:gd name="T52" fmla="*/ 610419 w 588"/>
                      <a:gd name="T53" fmla="*/ 70617 h 632"/>
                      <a:gd name="T54" fmla="*/ 531850 w 588"/>
                      <a:gd name="T55" fmla="*/ 139792 h 632"/>
                      <a:gd name="T56" fmla="*/ 492566 w 588"/>
                      <a:gd name="T57" fmla="*/ 157086 h 632"/>
                      <a:gd name="T58" fmla="*/ 454793 w 588"/>
                      <a:gd name="T59" fmla="*/ 174380 h 632"/>
                      <a:gd name="T60" fmla="*/ 413997 w 588"/>
                      <a:gd name="T61" fmla="*/ 122498 h 632"/>
                      <a:gd name="T62" fmla="*/ 374713 w 588"/>
                      <a:gd name="T63" fmla="*/ 105204 h 632"/>
                      <a:gd name="T64" fmla="*/ 355071 w 588"/>
                      <a:gd name="T65" fmla="*/ 87910 h 632"/>
                      <a:gd name="T66" fmla="*/ 335428 w 588"/>
                      <a:gd name="T67" fmla="*/ 53323 h 632"/>
                      <a:gd name="T68" fmla="*/ 276502 w 588"/>
                      <a:gd name="T69" fmla="*/ 0 h 632"/>
                      <a:gd name="T70" fmla="*/ 276502 w 588"/>
                      <a:gd name="T71" fmla="*/ 53323 h 632"/>
                      <a:gd name="T72" fmla="*/ 276502 w 588"/>
                      <a:gd name="T73" fmla="*/ 105204 h 632"/>
                      <a:gd name="T74" fmla="*/ 296144 w 588"/>
                      <a:gd name="T75" fmla="*/ 139792 h 632"/>
                      <a:gd name="T76" fmla="*/ 296144 w 588"/>
                      <a:gd name="T77" fmla="*/ 174380 h 632"/>
                      <a:gd name="T78" fmla="*/ 276502 w 588"/>
                      <a:gd name="T79" fmla="*/ 227703 h 632"/>
                      <a:gd name="T80" fmla="*/ 276502 w 588"/>
                      <a:gd name="T81" fmla="*/ 279584 h 632"/>
                      <a:gd name="T82" fmla="*/ 256860 w 588"/>
                      <a:gd name="T83" fmla="*/ 314172 h 632"/>
                      <a:gd name="T84" fmla="*/ 217575 w 588"/>
                      <a:gd name="T85" fmla="*/ 350201 h 632"/>
                      <a:gd name="T86" fmla="*/ 197933 w 588"/>
                      <a:gd name="T87" fmla="*/ 384788 h 632"/>
                      <a:gd name="T88" fmla="*/ 157138 w 588"/>
                      <a:gd name="T89" fmla="*/ 402082 h 632"/>
                      <a:gd name="T90" fmla="*/ 137495 w 588"/>
                      <a:gd name="T91" fmla="*/ 453964 h 632"/>
                      <a:gd name="T92" fmla="*/ 98211 w 588"/>
                      <a:gd name="T93" fmla="*/ 489993 h 632"/>
                      <a:gd name="T94" fmla="*/ 39284 w 588"/>
                      <a:gd name="T95" fmla="*/ 524580 h 632"/>
                      <a:gd name="T96" fmla="*/ 39284 w 588"/>
                      <a:gd name="T97" fmla="*/ 541874 h 632"/>
                      <a:gd name="T98" fmla="*/ 58927 w 588"/>
                      <a:gd name="T99" fmla="*/ 576462 h 632"/>
                      <a:gd name="T100" fmla="*/ 39284 w 588"/>
                      <a:gd name="T101" fmla="*/ 612491 h 632"/>
                      <a:gd name="T102" fmla="*/ 19642 w 588"/>
                      <a:gd name="T103" fmla="*/ 629785 h 632"/>
                      <a:gd name="T104" fmla="*/ 0 w 588"/>
                      <a:gd name="T105" fmla="*/ 716254 h 632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0" t="0" r="r" b="b"/>
                    <a:pathLst>
                      <a:path w="588" h="632">
                        <a:moveTo>
                          <a:pt x="0" y="497"/>
                        </a:moveTo>
                        <a:lnTo>
                          <a:pt x="104" y="534"/>
                        </a:lnTo>
                        <a:lnTo>
                          <a:pt x="104" y="582"/>
                        </a:lnTo>
                        <a:lnTo>
                          <a:pt x="157" y="631"/>
                        </a:lnTo>
                        <a:lnTo>
                          <a:pt x="248" y="594"/>
                        </a:lnTo>
                        <a:lnTo>
                          <a:pt x="313" y="534"/>
                        </a:lnTo>
                        <a:lnTo>
                          <a:pt x="378" y="521"/>
                        </a:lnTo>
                        <a:lnTo>
                          <a:pt x="430" y="509"/>
                        </a:lnTo>
                        <a:lnTo>
                          <a:pt x="470" y="461"/>
                        </a:lnTo>
                        <a:lnTo>
                          <a:pt x="496" y="425"/>
                        </a:lnTo>
                        <a:lnTo>
                          <a:pt x="522" y="352"/>
                        </a:lnTo>
                        <a:lnTo>
                          <a:pt x="509" y="303"/>
                        </a:lnTo>
                        <a:lnTo>
                          <a:pt x="496" y="279"/>
                        </a:lnTo>
                        <a:lnTo>
                          <a:pt x="522" y="267"/>
                        </a:lnTo>
                        <a:lnTo>
                          <a:pt x="548" y="231"/>
                        </a:lnTo>
                        <a:lnTo>
                          <a:pt x="574" y="231"/>
                        </a:lnTo>
                        <a:lnTo>
                          <a:pt x="587" y="206"/>
                        </a:lnTo>
                        <a:lnTo>
                          <a:pt x="587" y="182"/>
                        </a:lnTo>
                        <a:lnTo>
                          <a:pt x="587" y="170"/>
                        </a:lnTo>
                        <a:lnTo>
                          <a:pt x="574" y="134"/>
                        </a:lnTo>
                        <a:lnTo>
                          <a:pt x="574" y="97"/>
                        </a:lnTo>
                        <a:lnTo>
                          <a:pt x="574" y="73"/>
                        </a:lnTo>
                        <a:lnTo>
                          <a:pt x="574" y="49"/>
                        </a:lnTo>
                        <a:lnTo>
                          <a:pt x="548" y="61"/>
                        </a:lnTo>
                        <a:lnTo>
                          <a:pt x="522" y="61"/>
                        </a:lnTo>
                        <a:lnTo>
                          <a:pt x="483" y="73"/>
                        </a:lnTo>
                        <a:lnTo>
                          <a:pt x="404" y="49"/>
                        </a:lnTo>
                        <a:lnTo>
                          <a:pt x="352" y="97"/>
                        </a:lnTo>
                        <a:lnTo>
                          <a:pt x="326" y="109"/>
                        </a:lnTo>
                        <a:lnTo>
                          <a:pt x="301" y="121"/>
                        </a:lnTo>
                        <a:lnTo>
                          <a:pt x="274" y="85"/>
                        </a:lnTo>
                        <a:lnTo>
                          <a:pt x="248" y="73"/>
                        </a:lnTo>
                        <a:lnTo>
                          <a:pt x="235" y="61"/>
                        </a:lnTo>
                        <a:lnTo>
                          <a:pt x="222" y="37"/>
                        </a:lnTo>
                        <a:lnTo>
                          <a:pt x="183" y="0"/>
                        </a:lnTo>
                        <a:lnTo>
                          <a:pt x="183" y="37"/>
                        </a:lnTo>
                        <a:lnTo>
                          <a:pt x="183" y="73"/>
                        </a:lnTo>
                        <a:lnTo>
                          <a:pt x="196" y="97"/>
                        </a:lnTo>
                        <a:lnTo>
                          <a:pt x="196" y="121"/>
                        </a:lnTo>
                        <a:lnTo>
                          <a:pt x="183" y="158"/>
                        </a:lnTo>
                        <a:lnTo>
                          <a:pt x="183" y="194"/>
                        </a:lnTo>
                        <a:lnTo>
                          <a:pt x="170" y="218"/>
                        </a:lnTo>
                        <a:lnTo>
                          <a:pt x="144" y="243"/>
                        </a:lnTo>
                        <a:lnTo>
                          <a:pt x="131" y="267"/>
                        </a:lnTo>
                        <a:lnTo>
                          <a:pt x="104" y="279"/>
                        </a:lnTo>
                        <a:lnTo>
                          <a:pt x="91" y="315"/>
                        </a:lnTo>
                        <a:lnTo>
                          <a:pt x="65" y="340"/>
                        </a:lnTo>
                        <a:lnTo>
                          <a:pt x="26" y="364"/>
                        </a:lnTo>
                        <a:lnTo>
                          <a:pt x="26" y="376"/>
                        </a:lnTo>
                        <a:lnTo>
                          <a:pt x="39" y="400"/>
                        </a:lnTo>
                        <a:lnTo>
                          <a:pt x="26" y="425"/>
                        </a:lnTo>
                        <a:lnTo>
                          <a:pt x="13" y="437"/>
                        </a:lnTo>
                        <a:lnTo>
                          <a:pt x="0" y="497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49" name="Freeform 45">
                    <a:extLst>
                      <a:ext uri="{FF2B5EF4-FFF2-40B4-BE49-F238E27FC236}">
                        <a16:creationId xmlns:a16="http://schemas.microsoft.com/office/drawing/2014/main" id="{83BD89D1-6D4E-4656-812A-5DE453221A8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67545" y="4448324"/>
                    <a:ext cx="931862" cy="857250"/>
                  </a:xfrm>
                  <a:custGeom>
                    <a:avLst/>
                    <a:gdLst>
                      <a:gd name="T0" fmla="*/ 78838 w 615"/>
                      <a:gd name="T1" fmla="*/ 70647 h 595"/>
                      <a:gd name="T2" fmla="*/ 78838 w 615"/>
                      <a:gd name="T3" fmla="*/ 139852 h 595"/>
                      <a:gd name="T4" fmla="*/ 19710 w 615"/>
                      <a:gd name="T5" fmla="*/ 210499 h 595"/>
                      <a:gd name="T6" fmla="*/ 0 w 615"/>
                      <a:gd name="T7" fmla="*/ 279704 h 595"/>
                      <a:gd name="T8" fmla="*/ 0 w 615"/>
                      <a:gd name="T9" fmla="*/ 333050 h 595"/>
                      <a:gd name="T10" fmla="*/ 0 w 615"/>
                      <a:gd name="T11" fmla="*/ 402255 h 595"/>
                      <a:gd name="T12" fmla="*/ 0 w 615"/>
                      <a:gd name="T13" fmla="*/ 472902 h 595"/>
                      <a:gd name="T14" fmla="*/ 59129 w 615"/>
                      <a:gd name="T15" fmla="*/ 507505 h 595"/>
                      <a:gd name="T16" fmla="*/ 59129 w 615"/>
                      <a:gd name="T17" fmla="*/ 594011 h 595"/>
                      <a:gd name="T18" fmla="*/ 78838 w 615"/>
                      <a:gd name="T19" fmla="*/ 681959 h 595"/>
                      <a:gd name="T20" fmla="*/ 118257 w 615"/>
                      <a:gd name="T21" fmla="*/ 699261 h 595"/>
                      <a:gd name="T22" fmla="*/ 137967 w 615"/>
                      <a:gd name="T23" fmla="*/ 681959 h 595"/>
                      <a:gd name="T24" fmla="*/ 177386 w 615"/>
                      <a:gd name="T25" fmla="*/ 664658 h 595"/>
                      <a:gd name="T26" fmla="*/ 257740 w 615"/>
                      <a:gd name="T27" fmla="*/ 664658 h 595"/>
                      <a:gd name="T28" fmla="*/ 316869 w 615"/>
                      <a:gd name="T29" fmla="*/ 664658 h 595"/>
                      <a:gd name="T30" fmla="*/ 336579 w 615"/>
                      <a:gd name="T31" fmla="*/ 733863 h 595"/>
                      <a:gd name="T32" fmla="*/ 356288 w 615"/>
                      <a:gd name="T33" fmla="*/ 769908 h 595"/>
                      <a:gd name="T34" fmla="*/ 356288 w 615"/>
                      <a:gd name="T35" fmla="*/ 804510 h 595"/>
                      <a:gd name="T36" fmla="*/ 395707 w 615"/>
                      <a:gd name="T37" fmla="*/ 821812 h 595"/>
                      <a:gd name="T38" fmla="*/ 454836 w 615"/>
                      <a:gd name="T39" fmla="*/ 839113 h 595"/>
                      <a:gd name="T40" fmla="*/ 494255 w 615"/>
                      <a:gd name="T41" fmla="*/ 856414 h 595"/>
                      <a:gd name="T42" fmla="*/ 554900 w 615"/>
                      <a:gd name="T43" fmla="*/ 804510 h 595"/>
                      <a:gd name="T44" fmla="*/ 574610 w 615"/>
                      <a:gd name="T45" fmla="*/ 751165 h 595"/>
                      <a:gd name="T46" fmla="*/ 574610 w 615"/>
                      <a:gd name="T47" fmla="*/ 733863 h 595"/>
                      <a:gd name="T48" fmla="*/ 614029 w 615"/>
                      <a:gd name="T49" fmla="*/ 699261 h 595"/>
                      <a:gd name="T50" fmla="*/ 692867 w 615"/>
                      <a:gd name="T51" fmla="*/ 664658 h 595"/>
                      <a:gd name="T52" fmla="*/ 712577 w 615"/>
                      <a:gd name="T53" fmla="*/ 594011 h 595"/>
                      <a:gd name="T54" fmla="*/ 771705 w 615"/>
                      <a:gd name="T55" fmla="*/ 559409 h 595"/>
                      <a:gd name="T56" fmla="*/ 812640 w 615"/>
                      <a:gd name="T57" fmla="*/ 507505 h 595"/>
                      <a:gd name="T58" fmla="*/ 891479 w 615"/>
                      <a:gd name="T59" fmla="*/ 436858 h 595"/>
                      <a:gd name="T60" fmla="*/ 891479 w 615"/>
                      <a:gd name="T61" fmla="*/ 333050 h 595"/>
                      <a:gd name="T62" fmla="*/ 852060 w 615"/>
                      <a:gd name="T63" fmla="*/ 297006 h 595"/>
                      <a:gd name="T64" fmla="*/ 871769 w 615"/>
                      <a:gd name="T65" fmla="*/ 297006 h 595"/>
                      <a:gd name="T66" fmla="*/ 871769 w 615"/>
                      <a:gd name="T67" fmla="*/ 279704 h 595"/>
                      <a:gd name="T68" fmla="*/ 911188 w 615"/>
                      <a:gd name="T69" fmla="*/ 262403 h 595"/>
                      <a:gd name="T70" fmla="*/ 930898 w 615"/>
                      <a:gd name="T71" fmla="*/ 227800 h 595"/>
                      <a:gd name="T72" fmla="*/ 871769 w 615"/>
                      <a:gd name="T73" fmla="*/ 193198 h 595"/>
                      <a:gd name="T74" fmla="*/ 852060 w 615"/>
                      <a:gd name="T75" fmla="*/ 174455 h 595"/>
                      <a:gd name="T76" fmla="*/ 812640 w 615"/>
                      <a:gd name="T77" fmla="*/ 157153 h 595"/>
                      <a:gd name="T78" fmla="*/ 812640 w 615"/>
                      <a:gd name="T79" fmla="*/ 70647 h 595"/>
                      <a:gd name="T80" fmla="*/ 771705 w 615"/>
                      <a:gd name="T81" fmla="*/ 17301 h 595"/>
                      <a:gd name="T82" fmla="*/ 732286 w 615"/>
                      <a:gd name="T83" fmla="*/ 0 h 595"/>
                      <a:gd name="T84" fmla="*/ 653448 w 615"/>
                      <a:gd name="T85" fmla="*/ 0 h 595"/>
                      <a:gd name="T86" fmla="*/ 633738 w 615"/>
                      <a:gd name="T87" fmla="*/ 0 h 595"/>
                      <a:gd name="T88" fmla="*/ 594319 w 615"/>
                      <a:gd name="T89" fmla="*/ 0 h 595"/>
                      <a:gd name="T90" fmla="*/ 535190 w 615"/>
                      <a:gd name="T91" fmla="*/ 17301 h 595"/>
                      <a:gd name="T92" fmla="*/ 513965 w 615"/>
                      <a:gd name="T93" fmla="*/ 17301 h 595"/>
                      <a:gd name="T94" fmla="*/ 494255 w 615"/>
                      <a:gd name="T95" fmla="*/ 34603 h 595"/>
                      <a:gd name="T96" fmla="*/ 454836 w 615"/>
                      <a:gd name="T97" fmla="*/ 34603 h 595"/>
                      <a:gd name="T98" fmla="*/ 435127 w 615"/>
                      <a:gd name="T99" fmla="*/ 17301 h 595"/>
                      <a:gd name="T100" fmla="*/ 395707 w 615"/>
                      <a:gd name="T101" fmla="*/ 53346 h 595"/>
                      <a:gd name="T102" fmla="*/ 375998 w 615"/>
                      <a:gd name="T103" fmla="*/ 53346 h 595"/>
                      <a:gd name="T104" fmla="*/ 297160 w 615"/>
                      <a:gd name="T105" fmla="*/ 34603 h 595"/>
                      <a:gd name="T106" fmla="*/ 236515 w 615"/>
                      <a:gd name="T107" fmla="*/ 34603 h 595"/>
                      <a:gd name="T108" fmla="*/ 177386 w 615"/>
                      <a:gd name="T109" fmla="*/ 34603 h 595"/>
                      <a:gd name="T110" fmla="*/ 78838 w 615"/>
                      <a:gd name="T111" fmla="*/ 70647 h 595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</a:gdLst>
                    <a:ahLst/>
                    <a:cxnLst>
                      <a:cxn ang="T112">
                        <a:pos x="T0" y="T1"/>
                      </a:cxn>
                      <a:cxn ang="T113">
                        <a:pos x="T2" y="T3"/>
                      </a:cxn>
                      <a:cxn ang="T114">
                        <a:pos x="T4" y="T5"/>
                      </a:cxn>
                      <a:cxn ang="T115">
                        <a:pos x="T6" y="T7"/>
                      </a:cxn>
                      <a:cxn ang="T116">
                        <a:pos x="T8" y="T9"/>
                      </a:cxn>
                      <a:cxn ang="T117">
                        <a:pos x="T10" y="T11"/>
                      </a:cxn>
                      <a:cxn ang="T118">
                        <a:pos x="T12" y="T13"/>
                      </a:cxn>
                      <a:cxn ang="T119">
                        <a:pos x="T14" y="T15"/>
                      </a:cxn>
                      <a:cxn ang="T120">
                        <a:pos x="T16" y="T17"/>
                      </a:cxn>
                      <a:cxn ang="T121">
                        <a:pos x="T18" y="T19"/>
                      </a:cxn>
                      <a:cxn ang="T122">
                        <a:pos x="T20" y="T21"/>
                      </a:cxn>
                      <a:cxn ang="T123">
                        <a:pos x="T22" y="T23"/>
                      </a:cxn>
                      <a:cxn ang="T124">
                        <a:pos x="T24" y="T25"/>
                      </a:cxn>
                      <a:cxn ang="T125">
                        <a:pos x="T26" y="T27"/>
                      </a:cxn>
                      <a:cxn ang="T126">
                        <a:pos x="T28" y="T29"/>
                      </a:cxn>
                      <a:cxn ang="T127">
                        <a:pos x="T30" y="T31"/>
                      </a:cxn>
                      <a:cxn ang="T128">
                        <a:pos x="T32" y="T33"/>
                      </a:cxn>
                      <a:cxn ang="T129">
                        <a:pos x="T34" y="T35"/>
                      </a:cxn>
                      <a:cxn ang="T130">
                        <a:pos x="T36" y="T37"/>
                      </a:cxn>
                      <a:cxn ang="T131">
                        <a:pos x="T38" y="T39"/>
                      </a:cxn>
                      <a:cxn ang="T132">
                        <a:pos x="T40" y="T41"/>
                      </a:cxn>
                      <a:cxn ang="T133">
                        <a:pos x="T42" y="T43"/>
                      </a:cxn>
                      <a:cxn ang="T134">
                        <a:pos x="T44" y="T45"/>
                      </a:cxn>
                      <a:cxn ang="T135">
                        <a:pos x="T46" y="T47"/>
                      </a:cxn>
                      <a:cxn ang="T136">
                        <a:pos x="T48" y="T49"/>
                      </a:cxn>
                      <a:cxn ang="T137">
                        <a:pos x="T50" y="T51"/>
                      </a:cxn>
                      <a:cxn ang="T138">
                        <a:pos x="T52" y="T53"/>
                      </a:cxn>
                      <a:cxn ang="T139">
                        <a:pos x="T54" y="T55"/>
                      </a:cxn>
                      <a:cxn ang="T140">
                        <a:pos x="T56" y="T57"/>
                      </a:cxn>
                      <a:cxn ang="T141">
                        <a:pos x="T58" y="T59"/>
                      </a:cxn>
                      <a:cxn ang="T142">
                        <a:pos x="T60" y="T61"/>
                      </a:cxn>
                      <a:cxn ang="T143">
                        <a:pos x="T62" y="T63"/>
                      </a:cxn>
                      <a:cxn ang="T144">
                        <a:pos x="T64" y="T65"/>
                      </a:cxn>
                      <a:cxn ang="T145">
                        <a:pos x="T66" y="T67"/>
                      </a:cxn>
                      <a:cxn ang="T146">
                        <a:pos x="T68" y="T69"/>
                      </a:cxn>
                      <a:cxn ang="T147">
                        <a:pos x="T70" y="T71"/>
                      </a:cxn>
                      <a:cxn ang="T148">
                        <a:pos x="T72" y="T73"/>
                      </a:cxn>
                      <a:cxn ang="T149">
                        <a:pos x="T74" y="T75"/>
                      </a:cxn>
                      <a:cxn ang="T150">
                        <a:pos x="T76" y="T77"/>
                      </a:cxn>
                      <a:cxn ang="T151">
                        <a:pos x="T78" y="T79"/>
                      </a:cxn>
                      <a:cxn ang="T152">
                        <a:pos x="T80" y="T81"/>
                      </a:cxn>
                      <a:cxn ang="T153">
                        <a:pos x="T82" y="T83"/>
                      </a:cxn>
                      <a:cxn ang="T154">
                        <a:pos x="T84" y="T85"/>
                      </a:cxn>
                      <a:cxn ang="T155">
                        <a:pos x="T86" y="T87"/>
                      </a:cxn>
                      <a:cxn ang="T156">
                        <a:pos x="T88" y="T89"/>
                      </a:cxn>
                      <a:cxn ang="T157">
                        <a:pos x="T90" y="T91"/>
                      </a:cxn>
                      <a:cxn ang="T158">
                        <a:pos x="T92" y="T93"/>
                      </a:cxn>
                      <a:cxn ang="T159">
                        <a:pos x="T94" y="T95"/>
                      </a:cxn>
                      <a:cxn ang="T160">
                        <a:pos x="T96" y="T97"/>
                      </a:cxn>
                      <a:cxn ang="T161">
                        <a:pos x="T98" y="T99"/>
                      </a:cxn>
                      <a:cxn ang="T162">
                        <a:pos x="T100" y="T101"/>
                      </a:cxn>
                      <a:cxn ang="T163">
                        <a:pos x="T102" y="T103"/>
                      </a:cxn>
                      <a:cxn ang="T164">
                        <a:pos x="T104" y="T105"/>
                      </a:cxn>
                      <a:cxn ang="T165">
                        <a:pos x="T106" y="T107"/>
                      </a:cxn>
                      <a:cxn ang="T166">
                        <a:pos x="T108" y="T109"/>
                      </a:cxn>
                      <a:cxn ang="T167">
                        <a:pos x="T110" y="T111"/>
                      </a:cxn>
                    </a:cxnLst>
                    <a:rect l="0" t="0" r="r" b="b"/>
                    <a:pathLst>
                      <a:path w="615" h="595">
                        <a:moveTo>
                          <a:pt x="52" y="49"/>
                        </a:moveTo>
                        <a:lnTo>
                          <a:pt x="52" y="97"/>
                        </a:lnTo>
                        <a:lnTo>
                          <a:pt x="13" y="146"/>
                        </a:lnTo>
                        <a:lnTo>
                          <a:pt x="0" y="194"/>
                        </a:lnTo>
                        <a:lnTo>
                          <a:pt x="0" y="231"/>
                        </a:lnTo>
                        <a:lnTo>
                          <a:pt x="0" y="279"/>
                        </a:lnTo>
                        <a:lnTo>
                          <a:pt x="0" y="328"/>
                        </a:lnTo>
                        <a:lnTo>
                          <a:pt x="39" y="352"/>
                        </a:lnTo>
                        <a:lnTo>
                          <a:pt x="39" y="412"/>
                        </a:lnTo>
                        <a:lnTo>
                          <a:pt x="52" y="473"/>
                        </a:lnTo>
                        <a:lnTo>
                          <a:pt x="78" y="485"/>
                        </a:lnTo>
                        <a:lnTo>
                          <a:pt x="91" y="473"/>
                        </a:lnTo>
                        <a:lnTo>
                          <a:pt x="117" y="461"/>
                        </a:lnTo>
                        <a:lnTo>
                          <a:pt x="170" y="461"/>
                        </a:lnTo>
                        <a:lnTo>
                          <a:pt x="209" y="461"/>
                        </a:lnTo>
                        <a:lnTo>
                          <a:pt x="222" y="509"/>
                        </a:lnTo>
                        <a:lnTo>
                          <a:pt x="235" y="534"/>
                        </a:lnTo>
                        <a:lnTo>
                          <a:pt x="235" y="558"/>
                        </a:lnTo>
                        <a:lnTo>
                          <a:pt x="261" y="570"/>
                        </a:lnTo>
                        <a:lnTo>
                          <a:pt x="300" y="582"/>
                        </a:lnTo>
                        <a:lnTo>
                          <a:pt x="326" y="594"/>
                        </a:lnTo>
                        <a:lnTo>
                          <a:pt x="366" y="558"/>
                        </a:lnTo>
                        <a:lnTo>
                          <a:pt x="379" y="521"/>
                        </a:lnTo>
                        <a:lnTo>
                          <a:pt x="379" y="509"/>
                        </a:lnTo>
                        <a:lnTo>
                          <a:pt x="405" y="485"/>
                        </a:lnTo>
                        <a:lnTo>
                          <a:pt x="457" y="461"/>
                        </a:lnTo>
                        <a:lnTo>
                          <a:pt x="470" y="412"/>
                        </a:lnTo>
                        <a:lnTo>
                          <a:pt x="509" y="388"/>
                        </a:lnTo>
                        <a:lnTo>
                          <a:pt x="536" y="352"/>
                        </a:lnTo>
                        <a:lnTo>
                          <a:pt x="588" y="303"/>
                        </a:lnTo>
                        <a:lnTo>
                          <a:pt x="588" y="231"/>
                        </a:lnTo>
                        <a:lnTo>
                          <a:pt x="562" y="206"/>
                        </a:lnTo>
                        <a:lnTo>
                          <a:pt x="575" y="206"/>
                        </a:lnTo>
                        <a:lnTo>
                          <a:pt x="575" y="194"/>
                        </a:lnTo>
                        <a:lnTo>
                          <a:pt x="601" y="182"/>
                        </a:lnTo>
                        <a:lnTo>
                          <a:pt x="614" y="158"/>
                        </a:lnTo>
                        <a:lnTo>
                          <a:pt x="575" y="134"/>
                        </a:lnTo>
                        <a:lnTo>
                          <a:pt x="562" y="121"/>
                        </a:lnTo>
                        <a:lnTo>
                          <a:pt x="536" y="109"/>
                        </a:lnTo>
                        <a:lnTo>
                          <a:pt x="536" y="49"/>
                        </a:lnTo>
                        <a:lnTo>
                          <a:pt x="509" y="12"/>
                        </a:lnTo>
                        <a:lnTo>
                          <a:pt x="483" y="0"/>
                        </a:lnTo>
                        <a:lnTo>
                          <a:pt x="431" y="0"/>
                        </a:lnTo>
                        <a:lnTo>
                          <a:pt x="418" y="0"/>
                        </a:lnTo>
                        <a:lnTo>
                          <a:pt x="392" y="0"/>
                        </a:lnTo>
                        <a:lnTo>
                          <a:pt x="353" y="12"/>
                        </a:lnTo>
                        <a:lnTo>
                          <a:pt x="339" y="12"/>
                        </a:lnTo>
                        <a:lnTo>
                          <a:pt x="326" y="24"/>
                        </a:lnTo>
                        <a:lnTo>
                          <a:pt x="300" y="24"/>
                        </a:lnTo>
                        <a:lnTo>
                          <a:pt x="287" y="12"/>
                        </a:lnTo>
                        <a:lnTo>
                          <a:pt x="261" y="37"/>
                        </a:lnTo>
                        <a:lnTo>
                          <a:pt x="248" y="37"/>
                        </a:lnTo>
                        <a:lnTo>
                          <a:pt x="196" y="24"/>
                        </a:lnTo>
                        <a:lnTo>
                          <a:pt x="156" y="24"/>
                        </a:lnTo>
                        <a:lnTo>
                          <a:pt x="117" y="24"/>
                        </a:lnTo>
                        <a:lnTo>
                          <a:pt x="52" y="49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50" name="Freeform 46">
                    <a:extLst>
                      <a:ext uri="{FF2B5EF4-FFF2-40B4-BE49-F238E27FC236}">
                        <a16:creationId xmlns:a16="http://schemas.microsoft.com/office/drawing/2014/main" id="{22807B7D-C70B-4E1A-8570-96CCCF2A7CF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61445" y="4313386"/>
                    <a:ext cx="379412" cy="573088"/>
                  </a:xfrm>
                  <a:custGeom>
                    <a:avLst/>
                    <a:gdLst>
                      <a:gd name="T0" fmla="*/ 376730 w 250"/>
                      <a:gd name="T1" fmla="*/ 121675 h 401"/>
                      <a:gd name="T2" fmla="*/ 376730 w 250"/>
                      <a:gd name="T3" fmla="*/ 243351 h 401"/>
                      <a:gd name="T4" fmla="*/ 316211 w 250"/>
                      <a:gd name="T5" fmla="*/ 294884 h 401"/>
                      <a:gd name="T6" fmla="*/ 296543 w 250"/>
                      <a:gd name="T7" fmla="*/ 365026 h 401"/>
                      <a:gd name="T8" fmla="*/ 257205 w 250"/>
                      <a:gd name="T9" fmla="*/ 450915 h 401"/>
                      <a:gd name="T10" fmla="*/ 217868 w 250"/>
                      <a:gd name="T11" fmla="*/ 503880 h 401"/>
                      <a:gd name="T12" fmla="*/ 178531 w 250"/>
                      <a:gd name="T13" fmla="*/ 572591 h 401"/>
                      <a:gd name="T14" fmla="*/ 158862 w 250"/>
                      <a:gd name="T15" fmla="*/ 555413 h 401"/>
                      <a:gd name="T16" fmla="*/ 99856 w 250"/>
                      <a:gd name="T17" fmla="*/ 521057 h 401"/>
                      <a:gd name="T18" fmla="*/ 39337 w 250"/>
                      <a:gd name="T19" fmla="*/ 486702 h 401"/>
                      <a:gd name="T20" fmla="*/ 0 w 250"/>
                      <a:gd name="T21" fmla="*/ 450915 h 401"/>
                      <a:gd name="T22" fmla="*/ 19669 w 250"/>
                      <a:gd name="T23" fmla="*/ 399382 h 401"/>
                      <a:gd name="T24" fmla="*/ 59006 w 250"/>
                      <a:gd name="T25" fmla="*/ 347849 h 401"/>
                      <a:gd name="T26" fmla="*/ 78675 w 250"/>
                      <a:gd name="T27" fmla="*/ 277706 h 401"/>
                      <a:gd name="T28" fmla="*/ 119525 w 250"/>
                      <a:gd name="T29" fmla="*/ 260529 h 401"/>
                      <a:gd name="T30" fmla="*/ 139193 w 250"/>
                      <a:gd name="T31" fmla="*/ 208996 h 401"/>
                      <a:gd name="T32" fmla="*/ 158862 w 250"/>
                      <a:gd name="T33" fmla="*/ 156031 h 401"/>
                      <a:gd name="T34" fmla="*/ 178531 w 250"/>
                      <a:gd name="T35" fmla="*/ 104498 h 401"/>
                      <a:gd name="T36" fmla="*/ 158862 w 250"/>
                      <a:gd name="T37" fmla="*/ 70142 h 401"/>
                      <a:gd name="T38" fmla="*/ 178531 w 250"/>
                      <a:gd name="T39" fmla="*/ 0 h 401"/>
                      <a:gd name="T40" fmla="*/ 257205 w 250"/>
                      <a:gd name="T41" fmla="*/ 70142 h 401"/>
                      <a:gd name="T42" fmla="*/ 276874 w 250"/>
                      <a:gd name="T43" fmla="*/ 87320 h 401"/>
                      <a:gd name="T44" fmla="*/ 335880 w 250"/>
                      <a:gd name="T45" fmla="*/ 87320 h 401"/>
                      <a:gd name="T46" fmla="*/ 376730 w 250"/>
                      <a:gd name="T47" fmla="*/ 121675 h 401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0" t="0" r="r" b="b"/>
                    <a:pathLst>
                      <a:path w="250" h="401">
                        <a:moveTo>
                          <a:pt x="249" y="85"/>
                        </a:moveTo>
                        <a:lnTo>
                          <a:pt x="249" y="170"/>
                        </a:lnTo>
                        <a:lnTo>
                          <a:pt x="209" y="206"/>
                        </a:lnTo>
                        <a:lnTo>
                          <a:pt x="196" y="255"/>
                        </a:lnTo>
                        <a:lnTo>
                          <a:pt x="170" y="315"/>
                        </a:lnTo>
                        <a:lnTo>
                          <a:pt x="144" y="352"/>
                        </a:lnTo>
                        <a:lnTo>
                          <a:pt x="118" y="400"/>
                        </a:lnTo>
                        <a:lnTo>
                          <a:pt x="105" y="388"/>
                        </a:lnTo>
                        <a:lnTo>
                          <a:pt x="66" y="364"/>
                        </a:lnTo>
                        <a:lnTo>
                          <a:pt x="26" y="340"/>
                        </a:lnTo>
                        <a:lnTo>
                          <a:pt x="0" y="315"/>
                        </a:lnTo>
                        <a:lnTo>
                          <a:pt x="13" y="279"/>
                        </a:lnTo>
                        <a:lnTo>
                          <a:pt x="39" y="243"/>
                        </a:lnTo>
                        <a:lnTo>
                          <a:pt x="52" y="194"/>
                        </a:lnTo>
                        <a:lnTo>
                          <a:pt x="79" y="182"/>
                        </a:lnTo>
                        <a:lnTo>
                          <a:pt x="92" y="146"/>
                        </a:lnTo>
                        <a:lnTo>
                          <a:pt x="105" y="109"/>
                        </a:lnTo>
                        <a:lnTo>
                          <a:pt x="118" y="73"/>
                        </a:lnTo>
                        <a:lnTo>
                          <a:pt x="105" y="49"/>
                        </a:lnTo>
                        <a:lnTo>
                          <a:pt x="118" y="0"/>
                        </a:lnTo>
                        <a:lnTo>
                          <a:pt x="170" y="49"/>
                        </a:lnTo>
                        <a:lnTo>
                          <a:pt x="183" y="61"/>
                        </a:lnTo>
                        <a:lnTo>
                          <a:pt x="222" y="61"/>
                        </a:lnTo>
                        <a:lnTo>
                          <a:pt x="249" y="85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51" name="Freeform 47">
                    <a:extLst>
                      <a:ext uri="{FF2B5EF4-FFF2-40B4-BE49-F238E27FC236}">
                        <a16:creationId xmlns:a16="http://schemas.microsoft.com/office/drawing/2014/main" id="{58F3B6D9-E78B-4CB5-A56B-174A7A514AA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905175" y="4726136"/>
                    <a:ext cx="344091" cy="666462"/>
                  </a:xfrm>
                  <a:custGeom>
                    <a:avLst/>
                    <a:gdLst>
                      <a:gd name="T0" fmla="*/ 1065047 w 706"/>
                      <a:gd name="T1" fmla="*/ 419802 h 486"/>
                      <a:gd name="T2" fmla="*/ 1025769 w 706"/>
                      <a:gd name="T3" fmla="*/ 385179 h 486"/>
                      <a:gd name="T4" fmla="*/ 1025769 w 706"/>
                      <a:gd name="T5" fmla="*/ 349113 h 486"/>
                      <a:gd name="T6" fmla="*/ 1006130 w 706"/>
                      <a:gd name="T7" fmla="*/ 331802 h 486"/>
                      <a:gd name="T8" fmla="*/ 907934 w 706"/>
                      <a:gd name="T9" fmla="*/ 331802 h 486"/>
                      <a:gd name="T10" fmla="*/ 788588 w 706"/>
                      <a:gd name="T11" fmla="*/ 331802 h 486"/>
                      <a:gd name="T12" fmla="*/ 749310 w 706"/>
                      <a:gd name="T13" fmla="*/ 297179 h 486"/>
                      <a:gd name="T14" fmla="*/ 710032 w 706"/>
                      <a:gd name="T15" fmla="*/ 245245 h 486"/>
                      <a:gd name="T16" fmla="*/ 690392 w 706"/>
                      <a:gd name="T17" fmla="*/ 209180 h 486"/>
                      <a:gd name="T18" fmla="*/ 611836 w 706"/>
                      <a:gd name="T19" fmla="*/ 139934 h 486"/>
                      <a:gd name="T20" fmla="*/ 531768 w 706"/>
                      <a:gd name="T21" fmla="*/ 88000 h 486"/>
                      <a:gd name="T22" fmla="*/ 474361 w 706"/>
                      <a:gd name="T23" fmla="*/ 69246 h 486"/>
                      <a:gd name="T24" fmla="*/ 395805 w 706"/>
                      <a:gd name="T25" fmla="*/ 34623 h 486"/>
                      <a:gd name="T26" fmla="*/ 315737 w 706"/>
                      <a:gd name="T27" fmla="*/ 0 h 486"/>
                      <a:gd name="T28" fmla="*/ 237181 w 706"/>
                      <a:gd name="T29" fmla="*/ 17311 h 486"/>
                      <a:gd name="T30" fmla="*/ 138985 w 706"/>
                      <a:gd name="T31" fmla="*/ 51934 h 486"/>
                      <a:gd name="T32" fmla="*/ 158624 w 706"/>
                      <a:gd name="T33" fmla="*/ 88000 h 486"/>
                      <a:gd name="T34" fmla="*/ 158624 w 706"/>
                      <a:gd name="T35" fmla="*/ 139934 h 486"/>
                      <a:gd name="T36" fmla="*/ 158624 w 706"/>
                      <a:gd name="T37" fmla="*/ 157245 h 486"/>
                      <a:gd name="T38" fmla="*/ 138985 w 706"/>
                      <a:gd name="T39" fmla="*/ 209180 h 486"/>
                      <a:gd name="T40" fmla="*/ 99707 w 706"/>
                      <a:gd name="T41" fmla="*/ 245245 h 486"/>
                      <a:gd name="T42" fmla="*/ 78557 w 706"/>
                      <a:gd name="T43" fmla="*/ 279868 h 486"/>
                      <a:gd name="T44" fmla="*/ 39278 w 706"/>
                      <a:gd name="T45" fmla="*/ 314491 h 486"/>
                      <a:gd name="T46" fmla="*/ 19639 w 706"/>
                      <a:gd name="T47" fmla="*/ 331802 h 486"/>
                      <a:gd name="T48" fmla="*/ 0 w 706"/>
                      <a:gd name="T49" fmla="*/ 366425 h 486"/>
                      <a:gd name="T50" fmla="*/ 0 w 706"/>
                      <a:gd name="T51" fmla="*/ 385179 h 486"/>
                      <a:gd name="T52" fmla="*/ 19639 w 706"/>
                      <a:gd name="T53" fmla="*/ 385179 h 486"/>
                      <a:gd name="T54" fmla="*/ 58918 w 706"/>
                      <a:gd name="T55" fmla="*/ 385179 h 486"/>
                      <a:gd name="T56" fmla="*/ 78557 w 706"/>
                      <a:gd name="T57" fmla="*/ 385179 h 486"/>
                      <a:gd name="T58" fmla="*/ 178263 w 706"/>
                      <a:gd name="T59" fmla="*/ 385179 h 486"/>
                      <a:gd name="T60" fmla="*/ 276459 w 706"/>
                      <a:gd name="T61" fmla="*/ 419802 h 486"/>
                      <a:gd name="T62" fmla="*/ 315737 w 706"/>
                      <a:gd name="T63" fmla="*/ 419802 h 486"/>
                      <a:gd name="T64" fmla="*/ 356526 w 706"/>
                      <a:gd name="T65" fmla="*/ 489047 h 486"/>
                      <a:gd name="T66" fmla="*/ 356526 w 706"/>
                      <a:gd name="T67" fmla="*/ 542424 h 486"/>
                      <a:gd name="T68" fmla="*/ 395805 w 706"/>
                      <a:gd name="T69" fmla="*/ 594358 h 486"/>
                      <a:gd name="T70" fmla="*/ 435083 w 706"/>
                      <a:gd name="T71" fmla="*/ 646293 h 486"/>
                      <a:gd name="T72" fmla="*/ 494001 w 706"/>
                      <a:gd name="T73" fmla="*/ 682358 h 486"/>
                      <a:gd name="T74" fmla="*/ 611836 w 706"/>
                      <a:gd name="T75" fmla="*/ 699669 h 486"/>
                      <a:gd name="T76" fmla="*/ 631475 w 706"/>
                      <a:gd name="T77" fmla="*/ 682358 h 486"/>
                      <a:gd name="T78" fmla="*/ 670753 w 706"/>
                      <a:gd name="T79" fmla="*/ 646293 h 486"/>
                      <a:gd name="T80" fmla="*/ 710032 w 706"/>
                      <a:gd name="T81" fmla="*/ 611670 h 486"/>
                      <a:gd name="T82" fmla="*/ 768949 w 706"/>
                      <a:gd name="T83" fmla="*/ 594358 h 486"/>
                      <a:gd name="T84" fmla="*/ 808227 w 706"/>
                      <a:gd name="T85" fmla="*/ 559736 h 486"/>
                      <a:gd name="T86" fmla="*/ 868656 w 706"/>
                      <a:gd name="T87" fmla="*/ 506359 h 486"/>
                      <a:gd name="T88" fmla="*/ 907934 w 706"/>
                      <a:gd name="T89" fmla="*/ 506359 h 486"/>
                      <a:gd name="T90" fmla="*/ 947212 w 706"/>
                      <a:gd name="T91" fmla="*/ 525113 h 486"/>
                      <a:gd name="T92" fmla="*/ 986491 w 706"/>
                      <a:gd name="T93" fmla="*/ 489047 h 486"/>
                      <a:gd name="T94" fmla="*/ 1065047 w 706"/>
                      <a:gd name="T95" fmla="*/ 419802 h 48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0" t="0" r="r" b="b"/>
                    <a:pathLst>
                      <a:path w="706" h="486">
                        <a:moveTo>
                          <a:pt x="705" y="291"/>
                        </a:moveTo>
                        <a:lnTo>
                          <a:pt x="679" y="267"/>
                        </a:lnTo>
                        <a:lnTo>
                          <a:pt x="679" y="242"/>
                        </a:lnTo>
                        <a:lnTo>
                          <a:pt x="666" y="230"/>
                        </a:lnTo>
                        <a:lnTo>
                          <a:pt x="601" y="230"/>
                        </a:lnTo>
                        <a:lnTo>
                          <a:pt x="522" y="230"/>
                        </a:lnTo>
                        <a:lnTo>
                          <a:pt x="496" y="206"/>
                        </a:lnTo>
                        <a:lnTo>
                          <a:pt x="470" y="170"/>
                        </a:lnTo>
                        <a:lnTo>
                          <a:pt x="457" y="145"/>
                        </a:lnTo>
                        <a:lnTo>
                          <a:pt x="405" y="97"/>
                        </a:lnTo>
                        <a:lnTo>
                          <a:pt x="352" y="61"/>
                        </a:lnTo>
                        <a:lnTo>
                          <a:pt x="314" y="48"/>
                        </a:lnTo>
                        <a:lnTo>
                          <a:pt x="262" y="24"/>
                        </a:lnTo>
                        <a:lnTo>
                          <a:pt x="209" y="0"/>
                        </a:lnTo>
                        <a:lnTo>
                          <a:pt x="157" y="12"/>
                        </a:lnTo>
                        <a:lnTo>
                          <a:pt x="92" y="36"/>
                        </a:lnTo>
                        <a:lnTo>
                          <a:pt x="105" y="61"/>
                        </a:lnTo>
                        <a:lnTo>
                          <a:pt x="105" y="97"/>
                        </a:lnTo>
                        <a:lnTo>
                          <a:pt x="105" y="109"/>
                        </a:lnTo>
                        <a:lnTo>
                          <a:pt x="92" y="145"/>
                        </a:lnTo>
                        <a:lnTo>
                          <a:pt x="66" y="170"/>
                        </a:lnTo>
                        <a:lnTo>
                          <a:pt x="52" y="194"/>
                        </a:lnTo>
                        <a:lnTo>
                          <a:pt x="26" y="218"/>
                        </a:lnTo>
                        <a:lnTo>
                          <a:pt x="13" y="230"/>
                        </a:lnTo>
                        <a:lnTo>
                          <a:pt x="0" y="254"/>
                        </a:lnTo>
                        <a:lnTo>
                          <a:pt x="0" y="267"/>
                        </a:lnTo>
                        <a:lnTo>
                          <a:pt x="13" y="267"/>
                        </a:lnTo>
                        <a:lnTo>
                          <a:pt x="39" y="267"/>
                        </a:lnTo>
                        <a:lnTo>
                          <a:pt x="52" y="267"/>
                        </a:lnTo>
                        <a:lnTo>
                          <a:pt x="118" y="267"/>
                        </a:lnTo>
                        <a:lnTo>
                          <a:pt x="183" y="291"/>
                        </a:lnTo>
                        <a:lnTo>
                          <a:pt x="209" y="291"/>
                        </a:lnTo>
                        <a:lnTo>
                          <a:pt x="236" y="339"/>
                        </a:lnTo>
                        <a:lnTo>
                          <a:pt x="236" y="376"/>
                        </a:lnTo>
                        <a:lnTo>
                          <a:pt x="262" y="412"/>
                        </a:lnTo>
                        <a:lnTo>
                          <a:pt x="288" y="448"/>
                        </a:lnTo>
                        <a:lnTo>
                          <a:pt x="327" y="473"/>
                        </a:lnTo>
                        <a:lnTo>
                          <a:pt x="405" y="485"/>
                        </a:lnTo>
                        <a:lnTo>
                          <a:pt x="418" y="473"/>
                        </a:lnTo>
                        <a:lnTo>
                          <a:pt x="444" y="448"/>
                        </a:lnTo>
                        <a:lnTo>
                          <a:pt x="470" y="424"/>
                        </a:lnTo>
                        <a:lnTo>
                          <a:pt x="509" y="412"/>
                        </a:lnTo>
                        <a:lnTo>
                          <a:pt x="535" y="388"/>
                        </a:lnTo>
                        <a:lnTo>
                          <a:pt x="575" y="351"/>
                        </a:lnTo>
                        <a:lnTo>
                          <a:pt x="601" y="351"/>
                        </a:lnTo>
                        <a:lnTo>
                          <a:pt x="627" y="364"/>
                        </a:lnTo>
                        <a:lnTo>
                          <a:pt x="653" y="339"/>
                        </a:lnTo>
                        <a:lnTo>
                          <a:pt x="705" y="291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flat" cmpd="sng">
                        <a:solidFill>
                          <a:srgbClr val="002277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 wrap="none" lIns="131122" tIns="65561" rIns="131122" bIns="65561">
                    <a:spAutoFit/>
                  </a:bodyPr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52" name="Freeform 48">
                    <a:extLst>
                      <a:ext uri="{FF2B5EF4-FFF2-40B4-BE49-F238E27FC236}">
                        <a16:creationId xmlns:a16="http://schemas.microsoft.com/office/drawing/2014/main" id="{54DE98EA-169B-4B94-B875-2F99FD81636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905175" y="4726136"/>
                    <a:ext cx="344091" cy="666462"/>
                  </a:xfrm>
                  <a:custGeom>
                    <a:avLst/>
                    <a:gdLst>
                      <a:gd name="T0" fmla="*/ 1065047 w 706"/>
                      <a:gd name="T1" fmla="*/ 419802 h 486"/>
                      <a:gd name="T2" fmla="*/ 1025769 w 706"/>
                      <a:gd name="T3" fmla="*/ 385179 h 486"/>
                      <a:gd name="T4" fmla="*/ 1025769 w 706"/>
                      <a:gd name="T5" fmla="*/ 349113 h 486"/>
                      <a:gd name="T6" fmla="*/ 1006130 w 706"/>
                      <a:gd name="T7" fmla="*/ 331802 h 486"/>
                      <a:gd name="T8" fmla="*/ 907934 w 706"/>
                      <a:gd name="T9" fmla="*/ 331802 h 486"/>
                      <a:gd name="T10" fmla="*/ 788588 w 706"/>
                      <a:gd name="T11" fmla="*/ 331802 h 486"/>
                      <a:gd name="T12" fmla="*/ 749310 w 706"/>
                      <a:gd name="T13" fmla="*/ 297179 h 486"/>
                      <a:gd name="T14" fmla="*/ 710032 w 706"/>
                      <a:gd name="T15" fmla="*/ 245245 h 486"/>
                      <a:gd name="T16" fmla="*/ 690392 w 706"/>
                      <a:gd name="T17" fmla="*/ 209180 h 486"/>
                      <a:gd name="T18" fmla="*/ 611836 w 706"/>
                      <a:gd name="T19" fmla="*/ 139934 h 486"/>
                      <a:gd name="T20" fmla="*/ 531768 w 706"/>
                      <a:gd name="T21" fmla="*/ 88000 h 486"/>
                      <a:gd name="T22" fmla="*/ 474361 w 706"/>
                      <a:gd name="T23" fmla="*/ 69246 h 486"/>
                      <a:gd name="T24" fmla="*/ 395805 w 706"/>
                      <a:gd name="T25" fmla="*/ 34623 h 486"/>
                      <a:gd name="T26" fmla="*/ 315737 w 706"/>
                      <a:gd name="T27" fmla="*/ 0 h 486"/>
                      <a:gd name="T28" fmla="*/ 237181 w 706"/>
                      <a:gd name="T29" fmla="*/ 17311 h 486"/>
                      <a:gd name="T30" fmla="*/ 138985 w 706"/>
                      <a:gd name="T31" fmla="*/ 51934 h 486"/>
                      <a:gd name="T32" fmla="*/ 158624 w 706"/>
                      <a:gd name="T33" fmla="*/ 88000 h 486"/>
                      <a:gd name="T34" fmla="*/ 158624 w 706"/>
                      <a:gd name="T35" fmla="*/ 139934 h 486"/>
                      <a:gd name="T36" fmla="*/ 158624 w 706"/>
                      <a:gd name="T37" fmla="*/ 157245 h 486"/>
                      <a:gd name="T38" fmla="*/ 138985 w 706"/>
                      <a:gd name="T39" fmla="*/ 209180 h 486"/>
                      <a:gd name="T40" fmla="*/ 99707 w 706"/>
                      <a:gd name="T41" fmla="*/ 245245 h 486"/>
                      <a:gd name="T42" fmla="*/ 78557 w 706"/>
                      <a:gd name="T43" fmla="*/ 279868 h 486"/>
                      <a:gd name="T44" fmla="*/ 39278 w 706"/>
                      <a:gd name="T45" fmla="*/ 314491 h 486"/>
                      <a:gd name="T46" fmla="*/ 19639 w 706"/>
                      <a:gd name="T47" fmla="*/ 331802 h 486"/>
                      <a:gd name="T48" fmla="*/ 0 w 706"/>
                      <a:gd name="T49" fmla="*/ 366425 h 486"/>
                      <a:gd name="T50" fmla="*/ 0 w 706"/>
                      <a:gd name="T51" fmla="*/ 385179 h 486"/>
                      <a:gd name="T52" fmla="*/ 19639 w 706"/>
                      <a:gd name="T53" fmla="*/ 385179 h 486"/>
                      <a:gd name="T54" fmla="*/ 58918 w 706"/>
                      <a:gd name="T55" fmla="*/ 385179 h 486"/>
                      <a:gd name="T56" fmla="*/ 78557 w 706"/>
                      <a:gd name="T57" fmla="*/ 385179 h 486"/>
                      <a:gd name="T58" fmla="*/ 178263 w 706"/>
                      <a:gd name="T59" fmla="*/ 385179 h 486"/>
                      <a:gd name="T60" fmla="*/ 276459 w 706"/>
                      <a:gd name="T61" fmla="*/ 419802 h 486"/>
                      <a:gd name="T62" fmla="*/ 315737 w 706"/>
                      <a:gd name="T63" fmla="*/ 419802 h 486"/>
                      <a:gd name="T64" fmla="*/ 356526 w 706"/>
                      <a:gd name="T65" fmla="*/ 489047 h 486"/>
                      <a:gd name="T66" fmla="*/ 356526 w 706"/>
                      <a:gd name="T67" fmla="*/ 542424 h 486"/>
                      <a:gd name="T68" fmla="*/ 395805 w 706"/>
                      <a:gd name="T69" fmla="*/ 594358 h 486"/>
                      <a:gd name="T70" fmla="*/ 435083 w 706"/>
                      <a:gd name="T71" fmla="*/ 646293 h 486"/>
                      <a:gd name="T72" fmla="*/ 494001 w 706"/>
                      <a:gd name="T73" fmla="*/ 682358 h 486"/>
                      <a:gd name="T74" fmla="*/ 611836 w 706"/>
                      <a:gd name="T75" fmla="*/ 699669 h 486"/>
                      <a:gd name="T76" fmla="*/ 631475 w 706"/>
                      <a:gd name="T77" fmla="*/ 682358 h 486"/>
                      <a:gd name="T78" fmla="*/ 670753 w 706"/>
                      <a:gd name="T79" fmla="*/ 646293 h 486"/>
                      <a:gd name="T80" fmla="*/ 710032 w 706"/>
                      <a:gd name="T81" fmla="*/ 611670 h 486"/>
                      <a:gd name="T82" fmla="*/ 768949 w 706"/>
                      <a:gd name="T83" fmla="*/ 594358 h 486"/>
                      <a:gd name="T84" fmla="*/ 808227 w 706"/>
                      <a:gd name="T85" fmla="*/ 559736 h 486"/>
                      <a:gd name="T86" fmla="*/ 868656 w 706"/>
                      <a:gd name="T87" fmla="*/ 506359 h 486"/>
                      <a:gd name="T88" fmla="*/ 907934 w 706"/>
                      <a:gd name="T89" fmla="*/ 506359 h 486"/>
                      <a:gd name="T90" fmla="*/ 947212 w 706"/>
                      <a:gd name="T91" fmla="*/ 525113 h 486"/>
                      <a:gd name="T92" fmla="*/ 986491 w 706"/>
                      <a:gd name="T93" fmla="*/ 489047 h 486"/>
                      <a:gd name="T94" fmla="*/ 1065047 w 706"/>
                      <a:gd name="T95" fmla="*/ 419802 h 48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0" t="0" r="r" b="b"/>
                    <a:pathLst>
                      <a:path w="706" h="486">
                        <a:moveTo>
                          <a:pt x="705" y="291"/>
                        </a:moveTo>
                        <a:lnTo>
                          <a:pt x="679" y="267"/>
                        </a:lnTo>
                        <a:lnTo>
                          <a:pt x="679" y="242"/>
                        </a:lnTo>
                        <a:lnTo>
                          <a:pt x="666" y="230"/>
                        </a:lnTo>
                        <a:lnTo>
                          <a:pt x="601" y="230"/>
                        </a:lnTo>
                        <a:lnTo>
                          <a:pt x="522" y="230"/>
                        </a:lnTo>
                        <a:lnTo>
                          <a:pt x="496" y="206"/>
                        </a:lnTo>
                        <a:lnTo>
                          <a:pt x="470" y="170"/>
                        </a:lnTo>
                        <a:lnTo>
                          <a:pt x="457" y="145"/>
                        </a:lnTo>
                        <a:lnTo>
                          <a:pt x="405" y="97"/>
                        </a:lnTo>
                        <a:lnTo>
                          <a:pt x="352" y="61"/>
                        </a:lnTo>
                        <a:lnTo>
                          <a:pt x="314" y="48"/>
                        </a:lnTo>
                        <a:lnTo>
                          <a:pt x="262" y="24"/>
                        </a:lnTo>
                        <a:lnTo>
                          <a:pt x="209" y="0"/>
                        </a:lnTo>
                        <a:lnTo>
                          <a:pt x="157" y="12"/>
                        </a:lnTo>
                        <a:lnTo>
                          <a:pt x="92" y="36"/>
                        </a:lnTo>
                        <a:lnTo>
                          <a:pt x="105" y="61"/>
                        </a:lnTo>
                        <a:lnTo>
                          <a:pt x="105" y="97"/>
                        </a:lnTo>
                        <a:lnTo>
                          <a:pt x="105" y="109"/>
                        </a:lnTo>
                        <a:lnTo>
                          <a:pt x="92" y="145"/>
                        </a:lnTo>
                        <a:lnTo>
                          <a:pt x="66" y="170"/>
                        </a:lnTo>
                        <a:lnTo>
                          <a:pt x="52" y="194"/>
                        </a:lnTo>
                        <a:lnTo>
                          <a:pt x="26" y="218"/>
                        </a:lnTo>
                        <a:lnTo>
                          <a:pt x="13" y="230"/>
                        </a:lnTo>
                        <a:lnTo>
                          <a:pt x="0" y="254"/>
                        </a:lnTo>
                        <a:lnTo>
                          <a:pt x="0" y="267"/>
                        </a:lnTo>
                        <a:lnTo>
                          <a:pt x="13" y="267"/>
                        </a:lnTo>
                        <a:lnTo>
                          <a:pt x="39" y="267"/>
                        </a:lnTo>
                        <a:lnTo>
                          <a:pt x="52" y="267"/>
                        </a:lnTo>
                        <a:lnTo>
                          <a:pt x="118" y="267"/>
                        </a:lnTo>
                        <a:lnTo>
                          <a:pt x="183" y="291"/>
                        </a:lnTo>
                        <a:lnTo>
                          <a:pt x="209" y="291"/>
                        </a:lnTo>
                        <a:lnTo>
                          <a:pt x="236" y="339"/>
                        </a:lnTo>
                        <a:lnTo>
                          <a:pt x="236" y="376"/>
                        </a:lnTo>
                        <a:lnTo>
                          <a:pt x="262" y="412"/>
                        </a:lnTo>
                        <a:lnTo>
                          <a:pt x="288" y="448"/>
                        </a:lnTo>
                        <a:lnTo>
                          <a:pt x="327" y="473"/>
                        </a:lnTo>
                        <a:lnTo>
                          <a:pt x="405" y="485"/>
                        </a:lnTo>
                        <a:lnTo>
                          <a:pt x="418" y="473"/>
                        </a:lnTo>
                        <a:lnTo>
                          <a:pt x="444" y="448"/>
                        </a:lnTo>
                        <a:lnTo>
                          <a:pt x="470" y="424"/>
                        </a:lnTo>
                        <a:lnTo>
                          <a:pt x="509" y="412"/>
                        </a:lnTo>
                        <a:lnTo>
                          <a:pt x="535" y="388"/>
                        </a:lnTo>
                        <a:lnTo>
                          <a:pt x="575" y="351"/>
                        </a:lnTo>
                        <a:lnTo>
                          <a:pt x="601" y="351"/>
                        </a:lnTo>
                        <a:lnTo>
                          <a:pt x="627" y="364"/>
                        </a:lnTo>
                        <a:lnTo>
                          <a:pt x="653" y="339"/>
                        </a:lnTo>
                        <a:lnTo>
                          <a:pt x="705" y="291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flat" cmpd="sng">
                        <a:solidFill>
                          <a:srgbClr val="002277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 wrap="none" lIns="131122" tIns="65561" rIns="131122" bIns="65561">
                    <a:spAutoFit/>
                  </a:bodyPr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53" name="Freeform 49">
                    <a:extLst>
                      <a:ext uri="{FF2B5EF4-FFF2-40B4-BE49-F238E27FC236}">
                        <a16:creationId xmlns:a16="http://schemas.microsoft.com/office/drawing/2014/main" id="{D9FBD9B6-1C09-4463-A741-DD929BA7DAD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278707" y="5099199"/>
                    <a:ext cx="909638" cy="539750"/>
                  </a:xfrm>
                  <a:custGeom>
                    <a:avLst/>
                    <a:gdLst>
                      <a:gd name="T0" fmla="*/ 908913 w 603"/>
                      <a:gd name="T1" fmla="*/ 313162 h 376"/>
                      <a:gd name="T2" fmla="*/ 848520 w 603"/>
                      <a:gd name="T3" fmla="*/ 278685 h 376"/>
                      <a:gd name="T4" fmla="*/ 750382 w 603"/>
                      <a:gd name="T5" fmla="*/ 260010 h 376"/>
                      <a:gd name="T6" fmla="*/ 711126 w 603"/>
                      <a:gd name="T7" fmla="*/ 208296 h 376"/>
                      <a:gd name="T8" fmla="*/ 671871 w 603"/>
                      <a:gd name="T9" fmla="*/ 173819 h 376"/>
                      <a:gd name="T10" fmla="*/ 671871 w 603"/>
                      <a:gd name="T11" fmla="*/ 120668 h 376"/>
                      <a:gd name="T12" fmla="*/ 652243 w 603"/>
                      <a:gd name="T13" fmla="*/ 68953 h 376"/>
                      <a:gd name="T14" fmla="*/ 591850 w 603"/>
                      <a:gd name="T15" fmla="*/ 17238 h 376"/>
                      <a:gd name="T16" fmla="*/ 513340 w 603"/>
                      <a:gd name="T17" fmla="*/ 0 h 376"/>
                      <a:gd name="T18" fmla="*/ 493712 w 603"/>
                      <a:gd name="T19" fmla="*/ 0 h 376"/>
                      <a:gd name="T20" fmla="*/ 454457 w 603"/>
                      <a:gd name="T21" fmla="*/ 0 h 376"/>
                      <a:gd name="T22" fmla="*/ 395574 w 603"/>
                      <a:gd name="T23" fmla="*/ 0 h 376"/>
                      <a:gd name="T24" fmla="*/ 335181 w 603"/>
                      <a:gd name="T25" fmla="*/ 0 h 376"/>
                      <a:gd name="T26" fmla="*/ 295925 w 603"/>
                      <a:gd name="T27" fmla="*/ 0 h 376"/>
                      <a:gd name="T28" fmla="*/ 276298 w 603"/>
                      <a:gd name="T29" fmla="*/ 0 h 376"/>
                      <a:gd name="T30" fmla="*/ 256670 w 603"/>
                      <a:gd name="T31" fmla="*/ 17238 h 376"/>
                      <a:gd name="T32" fmla="*/ 237042 w 603"/>
                      <a:gd name="T33" fmla="*/ 34477 h 376"/>
                      <a:gd name="T34" fmla="*/ 217414 w 603"/>
                      <a:gd name="T35" fmla="*/ 51715 h 376"/>
                      <a:gd name="T36" fmla="*/ 178159 w 603"/>
                      <a:gd name="T37" fmla="*/ 86191 h 376"/>
                      <a:gd name="T38" fmla="*/ 119276 w 603"/>
                      <a:gd name="T39" fmla="*/ 103430 h 376"/>
                      <a:gd name="T40" fmla="*/ 119276 w 603"/>
                      <a:gd name="T41" fmla="*/ 139343 h 376"/>
                      <a:gd name="T42" fmla="*/ 119276 w 603"/>
                      <a:gd name="T43" fmla="*/ 173819 h 376"/>
                      <a:gd name="T44" fmla="*/ 58883 w 603"/>
                      <a:gd name="T45" fmla="*/ 225534 h 376"/>
                      <a:gd name="T46" fmla="*/ 39255 w 603"/>
                      <a:gd name="T47" fmla="*/ 242772 h 376"/>
                      <a:gd name="T48" fmla="*/ 19628 w 603"/>
                      <a:gd name="T49" fmla="*/ 295923 h 376"/>
                      <a:gd name="T50" fmla="*/ 19628 w 603"/>
                      <a:gd name="T51" fmla="*/ 330400 h 376"/>
                      <a:gd name="T52" fmla="*/ 0 w 603"/>
                      <a:gd name="T53" fmla="*/ 364876 h 376"/>
                      <a:gd name="T54" fmla="*/ 0 w 603"/>
                      <a:gd name="T55" fmla="*/ 382115 h 376"/>
                      <a:gd name="T56" fmla="*/ 39255 w 603"/>
                      <a:gd name="T57" fmla="*/ 418028 h 376"/>
                      <a:gd name="T58" fmla="*/ 78511 w 603"/>
                      <a:gd name="T59" fmla="*/ 452504 h 376"/>
                      <a:gd name="T60" fmla="*/ 78511 w 603"/>
                      <a:gd name="T61" fmla="*/ 486981 h 376"/>
                      <a:gd name="T62" fmla="*/ 98138 w 603"/>
                      <a:gd name="T63" fmla="*/ 521457 h 376"/>
                      <a:gd name="T64" fmla="*/ 138904 w 603"/>
                      <a:gd name="T65" fmla="*/ 521457 h 376"/>
                      <a:gd name="T66" fmla="*/ 217414 w 603"/>
                      <a:gd name="T67" fmla="*/ 521457 h 376"/>
                      <a:gd name="T68" fmla="*/ 295925 w 603"/>
                      <a:gd name="T69" fmla="*/ 538695 h 376"/>
                      <a:gd name="T70" fmla="*/ 375946 w 603"/>
                      <a:gd name="T71" fmla="*/ 538695 h 376"/>
                      <a:gd name="T72" fmla="*/ 415201 w 603"/>
                      <a:gd name="T73" fmla="*/ 521457 h 376"/>
                      <a:gd name="T74" fmla="*/ 434829 w 603"/>
                      <a:gd name="T75" fmla="*/ 504219 h 376"/>
                      <a:gd name="T76" fmla="*/ 552595 w 603"/>
                      <a:gd name="T77" fmla="*/ 486981 h 376"/>
                      <a:gd name="T78" fmla="*/ 591850 w 603"/>
                      <a:gd name="T79" fmla="*/ 452504 h 376"/>
                      <a:gd name="T80" fmla="*/ 730754 w 603"/>
                      <a:gd name="T81" fmla="*/ 452504 h 376"/>
                      <a:gd name="T82" fmla="*/ 750382 w 603"/>
                      <a:gd name="T83" fmla="*/ 435266 h 376"/>
                      <a:gd name="T84" fmla="*/ 809265 w 603"/>
                      <a:gd name="T85" fmla="*/ 435266 h 376"/>
                      <a:gd name="T86" fmla="*/ 848520 w 603"/>
                      <a:gd name="T87" fmla="*/ 452504 h 376"/>
                      <a:gd name="T88" fmla="*/ 868148 w 603"/>
                      <a:gd name="T89" fmla="*/ 382115 h 376"/>
                      <a:gd name="T90" fmla="*/ 908913 w 603"/>
                      <a:gd name="T91" fmla="*/ 313162 h 37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</a:gdLst>
                    <a:ahLst/>
                    <a:cxnLst>
                      <a:cxn ang="T92">
                        <a:pos x="T0" y="T1"/>
                      </a:cxn>
                      <a:cxn ang="T93">
                        <a:pos x="T2" y="T3"/>
                      </a:cxn>
                      <a:cxn ang="T94">
                        <a:pos x="T4" y="T5"/>
                      </a:cxn>
                      <a:cxn ang="T95">
                        <a:pos x="T6" y="T7"/>
                      </a:cxn>
                      <a:cxn ang="T96">
                        <a:pos x="T8" y="T9"/>
                      </a:cxn>
                      <a:cxn ang="T97">
                        <a:pos x="T10" y="T11"/>
                      </a:cxn>
                      <a:cxn ang="T98">
                        <a:pos x="T12" y="T13"/>
                      </a:cxn>
                      <a:cxn ang="T99">
                        <a:pos x="T14" y="T15"/>
                      </a:cxn>
                      <a:cxn ang="T100">
                        <a:pos x="T16" y="T17"/>
                      </a:cxn>
                      <a:cxn ang="T101">
                        <a:pos x="T18" y="T19"/>
                      </a:cxn>
                      <a:cxn ang="T102">
                        <a:pos x="T20" y="T21"/>
                      </a:cxn>
                      <a:cxn ang="T103">
                        <a:pos x="T22" y="T23"/>
                      </a:cxn>
                      <a:cxn ang="T104">
                        <a:pos x="T24" y="T25"/>
                      </a:cxn>
                      <a:cxn ang="T105">
                        <a:pos x="T26" y="T27"/>
                      </a:cxn>
                      <a:cxn ang="T106">
                        <a:pos x="T28" y="T29"/>
                      </a:cxn>
                      <a:cxn ang="T107">
                        <a:pos x="T30" y="T31"/>
                      </a:cxn>
                      <a:cxn ang="T108">
                        <a:pos x="T32" y="T33"/>
                      </a:cxn>
                      <a:cxn ang="T109">
                        <a:pos x="T34" y="T35"/>
                      </a:cxn>
                      <a:cxn ang="T110">
                        <a:pos x="T36" y="T37"/>
                      </a:cxn>
                      <a:cxn ang="T111">
                        <a:pos x="T38" y="T39"/>
                      </a:cxn>
                      <a:cxn ang="T112">
                        <a:pos x="T40" y="T41"/>
                      </a:cxn>
                      <a:cxn ang="T113">
                        <a:pos x="T42" y="T43"/>
                      </a:cxn>
                      <a:cxn ang="T114">
                        <a:pos x="T44" y="T45"/>
                      </a:cxn>
                      <a:cxn ang="T115">
                        <a:pos x="T46" y="T47"/>
                      </a:cxn>
                      <a:cxn ang="T116">
                        <a:pos x="T48" y="T49"/>
                      </a:cxn>
                      <a:cxn ang="T117">
                        <a:pos x="T50" y="T51"/>
                      </a:cxn>
                      <a:cxn ang="T118">
                        <a:pos x="T52" y="T53"/>
                      </a:cxn>
                      <a:cxn ang="T119">
                        <a:pos x="T54" y="T55"/>
                      </a:cxn>
                      <a:cxn ang="T120">
                        <a:pos x="T56" y="T57"/>
                      </a:cxn>
                      <a:cxn ang="T121">
                        <a:pos x="T58" y="T59"/>
                      </a:cxn>
                      <a:cxn ang="T122">
                        <a:pos x="T60" y="T61"/>
                      </a:cxn>
                      <a:cxn ang="T123">
                        <a:pos x="T62" y="T63"/>
                      </a:cxn>
                      <a:cxn ang="T124">
                        <a:pos x="T64" y="T65"/>
                      </a:cxn>
                      <a:cxn ang="T125">
                        <a:pos x="T66" y="T67"/>
                      </a:cxn>
                      <a:cxn ang="T126">
                        <a:pos x="T68" y="T69"/>
                      </a:cxn>
                      <a:cxn ang="T127">
                        <a:pos x="T70" y="T71"/>
                      </a:cxn>
                      <a:cxn ang="T128">
                        <a:pos x="T72" y="T73"/>
                      </a:cxn>
                      <a:cxn ang="T129">
                        <a:pos x="T74" y="T75"/>
                      </a:cxn>
                      <a:cxn ang="T130">
                        <a:pos x="T76" y="T77"/>
                      </a:cxn>
                      <a:cxn ang="T131">
                        <a:pos x="T78" y="T79"/>
                      </a:cxn>
                      <a:cxn ang="T132">
                        <a:pos x="T80" y="T81"/>
                      </a:cxn>
                      <a:cxn ang="T133">
                        <a:pos x="T82" y="T83"/>
                      </a:cxn>
                      <a:cxn ang="T134">
                        <a:pos x="T84" y="T85"/>
                      </a:cxn>
                      <a:cxn ang="T135">
                        <a:pos x="T86" y="T87"/>
                      </a:cxn>
                      <a:cxn ang="T136">
                        <a:pos x="T88" y="T89"/>
                      </a:cxn>
                      <a:cxn ang="T137">
                        <a:pos x="T90" y="T91"/>
                      </a:cxn>
                    </a:cxnLst>
                    <a:rect l="0" t="0" r="r" b="b"/>
                    <a:pathLst>
                      <a:path w="603" h="376">
                        <a:moveTo>
                          <a:pt x="602" y="218"/>
                        </a:moveTo>
                        <a:lnTo>
                          <a:pt x="562" y="194"/>
                        </a:lnTo>
                        <a:lnTo>
                          <a:pt x="497" y="181"/>
                        </a:lnTo>
                        <a:lnTo>
                          <a:pt x="471" y="145"/>
                        </a:lnTo>
                        <a:lnTo>
                          <a:pt x="445" y="121"/>
                        </a:lnTo>
                        <a:lnTo>
                          <a:pt x="445" y="84"/>
                        </a:lnTo>
                        <a:lnTo>
                          <a:pt x="432" y="48"/>
                        </a:lnTo>
                        <a:lnTo>
                          <a:pt x="392" y="12"/>
                        </a:lnTo>
                        <a:lnTo>
                          <a:pt x="340" y="0"/>
                        </a:lnTo>
                        <a:lnTo>
                          <a:pt x="327" y="0"/>
                        </a:lnTo>
                        <a:lnTo>
                          <a:pt x="301" y="0"/>
                        </a:lnTo>
                        <a:lnTo>
                          <a:pt x="262" y="0"/>
                        </a:lnTo>
                        <a:lnTo>
                          <a:pt x="222" y="0"/>
                        </a:lnTo>
                        <a:lnTo>
                          <a:pt x="196" y="0"/>
                        </a:lnTo>
                        <a:lnTo>
                          <a:pt x="183" y="0"/>
                        </a:lnTo>
                        <a:lnTo>
                          <a:pt x="170" y="12"/>
                        </a:lnTo>
                        <a:lnTo>
                          <a:pt x="157" y="24"/>
                        </a:lnTo>
                        <a:lnTo>
                          <a:pt x="144" y="36"/>
                        </a:lnTo>
                        <a:lnTo>
                          <a:pt x="118" y="60"/>
                        </a:lnTo>
                        <a:lnTo>
                          <a:pt x="79" y="72"/>
                        </a:lnTo>
                        <a:lnTo>
                          <a:pt x="79" y="97"/>
                        </a:lnTo>
                        <a:lnTo>
                          <a:pt x="79" y="121"/>
                        </a:lnTo>
                        <a:lnTo>
                          <a:pt x="39" y="157"/>
                        </a:lnTo>
                        <a:lnTo>
                          <a:pt x="26" y="169"/>
                        </a:lnTo>
                        <a:lnTo>
                          <a:pt x="13" y="206"/>
                        </a:lnTo>
                        <a:lnTo>
                          <a:pt x="13" y="230"/>
                        </a:lnTo>
                        <a:lnTo>
                          <a:pt x="0" y="254"/>
                        </a:lnTo>
                        <a:lnTo>
                          <a:pt x="0" y="266"/>
                        </a:lnTo>
                        <a:lnTo>
                          <a:pt x="26" y="291"/>
                        </a:lnTo>
                        <a:lnTo>
                          <a:pt x="52" y="315"/>
                        </a:lnTo>
                        <a:lnTo>
                          <a:pt x="52" y="339"/>
                        </a:lnTo>
                        <a:lnTo>
                          <a:pt x="65" y="363"/>
                        </a:lnTo>
                        <a:lnTo>
                          <a:pt x="92" y="363"/>
                        </a:lnTo>
                        <a:lnTo>
                          <a:pt x="144" y="363"/>
                        </a:lnTo>
                        <a:lnTo>
                          <a:pt x="196" y="375"/>
                        </a:lnTo>
                        <a:lnTo>
                          <a:pt x="249" y="375"/>
                        </a:lnTo>
                        <a:lnTo>
                          <a:pt x="275" y="363"/>
                        </a:lnTo>
                        <a:lnTo>
                          <a:pt x="288" y="351"/>
                        </a:lnTo>
                        <a:lnTo>
                          <a:pt x="366" y="339"/>
                        </a:lnTo>
                        <a:lnTo>
                          <a:pt x="392" y="315"/>
                        </a:lnTo>
                        <a:lnTo>
                          <a:pt x="484" y="315"/>
                        </a:lnTo>
                        <a:lnTo>
                          <a:pt x="497" y="303"/>
                        </a:lnTo>
                        <a:lnTo>
                          <a:pt x="536" y="303"/>
                        </a:lnTo>
                        <a:lnTo>
                          <a:pt x="562" y="315"/>
                        </a:lnTo>
                        <a:lnTo>
                          <a:pt x="575" y="266"/>
                        </a:lnTo>
                        <a:lnTo>
                          <a:pt x="602" y="218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54" name="Freeform 50">
                    <a:extLst>
                      <a:ext uri="{FF2B5EF4-FFF2-40B4-BE49-F238E27FC236}">
                        <a16:creationId xmlns:a16="http://schemas.microsoft.com/office/drawing/2014/main" id="{ABB7E8CE-FDE3-421C-8A41-0BFB592C2F7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410444" y="5496646"/>
                    <a:ext cx="712505" cy="415160"/>
                  </a:xfrm>
                  <a:custGeom>
                    <a:avLst/>
                    <a:gdLst>
                      <a:gd name="T0" fmla="*/ 0 w 472"/>
                      <a:gd name="T1" fmla="*/ 60 h 291"/>
                      <a:gd name="T2" fmla="*/ 0 w 472"/>
                      <a:gd name="T3" fmla="*/ 169 h 291"/>
                      <a:gd name="T4" fmla="*/ 66 w 472"/>
                      <a:gd name="T5" fmla="*/ 181 h 291"/>
                      <a:gd name="T6" fmla="*/ 144 w 472"/>
                      <a:gd name="T7" fmla="*/ 169 h 291"/>
                      <a:gd name="T8" fmla="*/ 262 w 472"/>
                      <a:gd name="T9" fmla="*/ 193 h 291"/>
                      <a:gd name="T10" fmla="*/ 314 w 472"/>
                      <a:gd name="T11" fmla="*/ 242 h 291"/>
                      <a:gd name="T12" fmla="*/ 327 w 472"/>
                      <a:gd name="T13" fmla="*/ 254 h 291"/>
                      <a:gd name="T14" fmla="*/ 354 w 472"/>
                      <a:gd name="T15" fmla="*/ 290 h 291"/>
                      <a:gd name="T16" fmla="*/ 367 w 472"/>
                      <a:gd name="T17" fmla="*/ 278 h 291"/>
                      <a:gd name="T18" fmla="*/ 432 w 472"/>
                      <a:gd name="T19" fmla="*/ 242 h 291"/>
                      <a:gd name="T20" fmla="*/ 432 w 472"/>
                      <a:gd name="T21" fmla="*/ 109 h 291"/>
                      <a:gd name="T22" fmla="*/ 458 w 472"/>
                      <a:gd name="T23" fmla="*/ 60 h 291"/>
                      <a:gd name="T24" fmla="*/ 471 w 472"/>
                      <a:gd name="T25" fmla="*/ 24 h 291"/>
                      <a:gd name="T26" fmla="*/ 432 w 472"/>
                      <a:gd name="T27" fmla="*/ 12 h 291"/>
                      <a:gd name="T28" fmla="*/ 393 w 472"/>
                      <a:gd name="T29" fmla="*/ 0 h 291"/>
                      <a:gd name="T30" fmla="*/ 354 w 472"/>
                      <a:gd name="T31" fmla="*/ 24 h 291"/>
                      <a:gd name="T32" fmla="*/ 314 w 472"/>
                      <a:gd name="T33" fmla="*/ 24 h 291"/>
                      <a:gd name="T34" fmla="*/ 288 w 472"/>
                      <a:gd name="T35" fmla="*/ 36 h 291"/>
                      <a:gd name="T36" fmla="*/ 236 w 472"/>
                      <a:gd name="T37" fmla="*/ 48 h 291"/>
                      <a:gd name="T38" fmla="*/ 223 w 472"/>
                      <a:gd name="T39" fmla="*/ 60 h 291"/>
                      <a:gd name="T40" fmla="*/ 157 w 472"/>
                      <a:gd name="T41" fmla="*/ 72 h 291"/>
                      <a:gd name="T42" fmla="*/ 144 w 472"/>
                      <a:gd name="T43" fmla="*/ 72 h 291"/>
                      <a:gd name="T44" fmla="*/ 79 w 472"/>
                      <a:gd name="T45" fmla="*/ 72 h 291"/>
                      <a:gd name="T46" fmla="*/ 0 w 472"/>
                      <a:gd name="T47" fmla="*/ 60 h 29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472" h="291">
                        <a:moveTo>
                          <a:pt x="0" y="60"/>
                        </a:moveTo>
                        <a:lnTo>
                          <a:pt x="0" y="169"/>
                        </a:lnTo>
                        <a:lnTo>
                          <a:pt x="66" y="181"/>
                        </a:lnTo>
                        <a:lnTo>
                          <a:pt x="144" y="169"/>
                        </a:lnTo>
                        <a:lnTo>
                          <a:pt x="262" y="193"/>
                        </a:lnTo>
                        <a:lnTo>
                          <a:pt x="314" y="242"/>
                        </a:lnTo>
                        <a:lnTo>
                          <a:pt x="327" y="254"/>
                        </a:lnTo>
                        <a:lnTo>
                          <a:pt x="354" y="290"/>
                        </a:lnTo>
                        <a:lnTo>
                          <a:pt x="367" y="278"/>
                        </a:lnTo>
                        <a:lnTo>
                          <a:pt x="432" y="242"/>
                        </a:lnTo>
                        <a:lnTo>
                          <a:pt x="432" y="109"/>
                        </a:lnTo>
                        <a:lnTo>
                          <a:pt x="458" y="60"/>
                        </a:lnTo>
                        <a:lnTo>
                          <a:pt x="471" y="24"/>
                        </a:lnTo>
                        <a:lnTo>
                          <a:pt x="432" y="12"/>
                        </a:lnTo>
                        <a:lnTo>
                          <a:pt x="393" y="0"/>
                        </a:lnTo>
                        <a:lnTo>
                          <a:pt x="354" y="24"/>
                        </a:lnTo>
                        <a:lnTo>
                          <a:pt x="314" y="24"/>
                        </a:lnTo>
                        <a:lnTo>
                          <a:pt x="288" y="36"/>
                        </a:lnTo>
                        <a:lnTo>
                          <a:pt x="236" y="48"/>
                        </a:lnTo>
                        <a:lnTo>
                          <a:pt x="223" y="60"/>
                        </a:lnTo>
                        <a:lnTo>
                          <a:pt x="157" y="72"/>
                        </a:lnTo>
                        <a:lnTo>
                          <a:pt x="144" y="72"/>
                        </a:lnTo>
                        <a:lnTo>
                          <a:pt x="79" y="72"/>
                        </a:lnTo>
                        <a:lnTo>
                          <a:pt x="0" y="60"/>
                        </a:lnTo>
                      </a:path>
                    </a:pathLst>
                  </a:custGeom>
                  <a:gradFill flip="none" rotWithShape="1">
                    <a:gsLst>
                      <a:gs pos="0">
                        <a:srgbClr val="CCFF66">
                          <a:shade val="30000"/>
                          <a:satMod val="115000"/>
                        </a:srgbClr>
                      </a:gs>
                      <a:gs pos="50000">
                        <a:srgbClr val="CCFF66">
                          <a:shade val="67500"/>
                          <a:satMod val="115000"/>
                        </a:srgbClr>
                      </a:gs>
                      <a:gs pos="100000">
                        <a:srgbClr val="CCFF66">
                          <a:shade val="100000"/>
                          <a:satMod val="115000"/>
                        </a:srgbClr>
                      </a:gs>
                    </a:gsLst>
                    <a:path path="circle">
                      <a:fillToRect l="100000" t="100000"/>
                    </a:path>
                    <a:tileRect r="-100000" b="-100000"/>
                  </a:gradFill>
                  <a:ln>
                    <a:noFill/>
                  </a:ln>
                  <a:effectLst>
                    <a:outerShdw dist="35921" dir="2700000" algn="ctr" rotWithShape="0">
                      <a:srgbClr val="808080"/>
                    </a:outerShdw>
                  </a:effectLst>
                  <a:extLst>
                    <a:ext uri="{91240B29-F687-4F45-9708-019B960494DF}">
                      <a14:hiddenLine xmlns:a14="http://schemas.microsoft.com/office/drawing/2010/main" w="12700" cap="rnd" cmpd="sng">
                        <a:solidFill>
                          <a:srgbClr val="A3F55D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30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30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30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30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30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30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30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30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30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pPr algn="ctr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pt-BR" sz="2400" kern="0">
                      <a:solidFill>
                        <a:srgbClr val="00007F"/>
                      </a:solidFill>
                    </a:endParaRPr>
                  </a:p>
                </p:txBody>
              </p:sp>
              <p:sp>
                <p:nvSpPr>
                  <p:cNvPr id="55" name="Freeform 51">
                    <a:extLst>
                      <a:ext uri="{FF2B5EF4-FFF2-40B4-BE49-F238E27FC236}">
                        <a16:creationId xmlns:a16="http://schemas.microsoft.com/office/drawing/2014/main" id="{F23CAE79-3A17-46C0-8258-7CFC2643A91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061220" y="5718324"/>
                    <a:ext cx="850900" cy="735012"/>
                  </a:xfrm>
                  <a:custGeom>
                    <a:avLst/>
                    <a:gdLst>
                      <a:gd name="T0" fmla="*/ 356744 w 563"/>
                      <a:gd name="T1" fmla="*/ 17294 h 510"/>
                      <a:gd name="T2" fmla="*/ 315930 w 563"/>
                      <a:gd name="T3" fmla="*/ 105206 h 510"/>
                      <a:gd name="T4" fmla="*/ 256977 w 563"/>
                      <a:gd name="T5" fmla="*/ 191677 h 510"/>
                      <a:gd name="T6" fmla="*/ 178372 w 563"/>
                      <a:gd name="T7" fmla="*/ 262295 h 510"/>
                      <a:gd name="T8" fmla="*/ 99767 w 563"/>
                      <a:gd name="T9" fmla="*/ 331472 h 510"/>
                      <a:gd name="T10" fmla="*/ 58954 w 563"/>
                      <a:gd name="T11" fmla="*/ 384796 h 510"/>
                      <a:gd name="T12" fmla="*/ 58954 w 563"/>
                      <a:gd name="T13" fmla="*/ 436678 h 510"/>
                      <a:gd name="T14" fmla="*/ 0 w 563"/>
                      <a:gd name="T15" fmla="*/ 471267 h 510"/>
                      <a:gd name="T16" fmla="*/ 0 w 563"/>
                      <a:gd name="T17" fmla="*/ 559179 h 510"/>
                      <a:gd name="T18" fmla="*/ 99767 w 563"/>
                      <a:gd name="T19" fmla="*/ 576473 h 510"/>
                      <a:gd name="T20" fmla="*/ 198023 w 563"/>
                      <a:gd name="T21" fmla="*/ 611061 h 510"/>
                      <a:gd name="T22" fmla="*/ 276628 w 563"/>
                      <a:gd name="T23" fmla="*/ 628356 h 510"/>
                      <a:gd name="T24" fmla="*/ 474651 w 563"/>
                      <a:gd name="T25" fmla="*/ 628356 h 510"/>
                      <a:gd name="T26" fmla="*/ 494303 w 563"/>
                      <a:gd name="T27" fmla="*/ 716268 h 510"/>
                      <a:gd name="T28" fmla="*/ 572907 w 563"/>
                      <a:gd name="T29" fmla="*/ 733562 h 510"/>
                      <a:gd name="T30" fmla="*/ 613721 w 563"/>
                      <a:gd name="T31" fmla="*/ 593767 h 510"/>
                      <a:gd name="T32" fmla="*/ 653024 w 563"/>
                      <a:gd name="T33" fmla="*/ 488561 h 510"/>
                      <a:gd name="T34" fmla="*/ 692326 w 563"/>
                      <a:gd name="T35" fmla="*/ 453972 h 510"/>
                      <a:gd name="T36" fmla="*/ 731628 w 563"/>
                      <a:gd name="T37" fmla="*/ 402090 h 510"/>
                      <a:gd name="T38" fmla="*/ 731628 w 563"/>
                      <a:gd name="T39" fmla="*/ 453972 h 510"/>
                      <a:gd name="T40" fmla="*/ 711977 w 563"/>
                      <a:gd name="T41" fmla="*/ 488561 h 510"/>
                      <a:gd name="T42" fmla="*/ 711977 w 563"/>
                      <a:gd name="T43" fmla="*/ 507296 h 510"/>
                      <a:gd name="T44" fmla="*/ 692326 w 563"/>
                      <a:gd name="T45" fmla="*/ 524590 h 510"/>
                      <a:gd name="T46" fmla="*/ 672675 w 563"/>
                      <a:gd name="T47" fmla="*/ 593767 h 510"/>
                      <a:gd name="T48" fmla="*/ 731628 w 563"/>
                      <a:gd name="T49" fmla="*/ 524590 h 510"/>
                      <a:gd name="T50" fmla="*/ 770931 w 563"/>
                      <a:gd name="T51" fmla="*/ 471267 h 510"/>
                      <a:gd name="T52" fmla="*/ 810233 w 563"/>
                      <a:gd name="T53" fmla="*/ 402090 h 510"/>
                      <a:gd name="T54" fmla="*/ 829884 w 563"/>
                      <a:gd name="T55" fmla="*/ 367502 h 510"/>
                      <a:gd name="T56" fmla="*/ 829884 w 563"/>
                      <a:gd name="T57" fmla="*/ 331472 h 510"/>
                      <a:gd name="T58" fmla="*/ 829884 w 563"/>
                      <a:gd name="T59" fmla="*/ 296884 h 510"/>
                      <a:gd name="T60" fmla="*/ 829884 w 563"/>
                      <a:gd name="T61" fmla="*/ 262295 h 510"/>
                      <a:gd name="T62" fmla="*/ 849535 w 563"/>
                      <a:gd name="T63" fmla="*/ 210413 h 510"/>
                      <a:gd name="T64" fmla="*/ 829884 w 563"/>
                      <a:gd name="T65" fmla="*/ 122501 h 510"/>
                      <a:gd name="T66" fmla="*/ 770931 w 563"/>
                      <a:gd name="T67" fmla="*/ 70618 h 510"/>
                      <a:gd name="T68" fmla="*/ 653024 w 563"/>
                      <a:gd name="T69" fmla="*/ 17294 h 510"/>
                      <a:gd name="T70" fmla="*/ 572907 w 563"/>
                      <a:gd name="T71" fmla="*/ 0 h 510"/>
                      <a:gd name="T72" fmla="*/ 474651 w 563"/>
                      <a:gd name="T73" fmla="*/ 17294 h 510"/>
                      <a:gd name="T74" fmla="*/ 356744 w 563"/>
                      <a:gd name="T75" fmla="*/ 17294 h 510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</a:gdLst>
                    <a:ahLst/>
                    <a:cxnLst>
                      <a:cxn ang="T76">
                        <a:pos x="T0" y="T1"/>
                      </a:cxn>
                      <a:cxn ang="T77">
                        <a:pos x="T2" y="T3"/>
                      </a:cxn>
                      <a:cxn ang="T78">
                        <a:pos x="T4" y="T5"/>
                      </a:cxn>
                      <a:cxn ang="T79">
                        <a:pos x="T6" y="T7"/>
                      </a:cxn>
                      <a:cxn ang="T80">
                        <a:pos x="T8" y="T9"/>
                      </a:cxn>
                      <a:cxn ang="T81">
                        <a:pos x="T10" y="T11"/>
                      </a:cxn>
                      <a:cxn ang="T82">
                        <a:pos x="T12" y="T13"/>
                      </a:cxn>
                      <a:cxn ang="T83">
                        <a:pos x="T14" y="T15"/>
                      </a:cxn>
                      <a:cxn ang="T84">
                        <a:pos x="T16" y="T17"/>
                      </a:cxn>
                      <a:cxn ang="T85">
                        <a:pos x="T18" y="T19"/>
                      </a:cxn>
                      <a:cxn ang="T86">
                        <a:pos x="T20" y="T21"/>
                      </a:cxn>
                      <a:cxn ang="T87">
                        <a:pos x="T22" y="T23"/>
                      </a:cxn>
                      <a:cxn ang="T88">
                        <a:pos x="T24" y="T25"/>
                      </a:cxn>
                      <a:cxn ang="T89">
                        <a:pos x="T26" y="T27"/>
                      </a:cxn>
                      <a:cxn ang="T90">
                        <a:pos x="T28" y="T29"/>
                      </a:cxn>
                      <a:cxn ang="T91">
                        <a:pos x="T30" y="T31"/>
                      </a:cxn>
                      <a:cxn ang="T92">
                        <a:pos x="T32" y="T33"/>
                      </a:cxn>
                      <a:cxn ang="T93">
                        <a:pos x="T34" y="T35"/>
                      </a:cxn>
                      <a:cxn ang="T94">
                        <a:pos x="T36" y="T37"/>
                      </a:cxn>
                      <a:cxn ang="T95">
                        <a:pos x="T38" y="T39"/>
                      </a:cxn>
                      <a:cxn ang="T96">
                        <a:pos x="T40" y="T41"/>
                      </a:cxn>
                      <a:cxn ang="T97">
                        <a:pos x="T42" y="T43"/>
                      </a:cxn>
                      <a:cxn ang="T98">
                        <a:pos x="T44" y="T45"/>
                      </a:cxn>
                      <a:cxn ang="T99">
                        <a:pos x="T46" y="T47"/>
                      </a:cxn>
                      <a:cxn ang="T100">
                        <a:pos x="T48" y="T49"/>
                      </a:cxn>
                      <a:cxn ang="T101">
                        <a:pos x="T50" y="T51"/>
                      </a:cxn>
                      <a:cxn ang="T102">
                        <a:pos x="T52" y="T53"/>
                      </a:cxn>
                      <a:cxn ang="T103">
                        <a:pos x="T54" y="T55"/>
                      </a:cxn>
                      <a:cxn ang="T104">
                        <a:pos x="T56" y="T57"/>
                      </a:cxn>
                      <a:cxn ang="T105">
                        <a:pos x="T58" y="T59"/>
                      </a:cxn>
                      <a:cxn ang="T106">
                        <a:pos x="T60" y="T61"/>
                      </a:cxn>
                      <a:cxn ang="T107">
                        <a:pos x="T62" y="T63"/>
                      </a:cxn>
                      <a:cxn ang="T108">
                        <a:pos x="T64" y="T65"/>
                      </a:cxn>
                      <a:cxn ang="T109">
                        <a:pos x="T66" y="T67"/>
                      </a:cxn>
                      <a:cxn ang="T110">
                        <a:pos x="T68" y="T69"/>
                      </a:cxn>
                      <a:cxn ang="T111">
                        <a:pos x="T70" y="T71"/>
                      </a:cxn>
                      <a:cxn ang="T112">
                        <a:pos x="T72" y="T73"/>
                      </a:cxn>
                      <a:cxn ang="T113">
                        <a:pos x="T74" y="T75"/>
                      </a:cxn>
                    </a:cxnLst>
                    <a:rect l="0" t="0" r="r" b="b"/>
                    <a:pathLst>
                      <a:path w="563" h="510">
                        <a:moveTo>
                          <a:pt x="236" y="12"/>
                        </a:moveTo>
                        <a:lnTo>
                          <a:pt x="209" y="73"/>
                        </a:lnTo>
                        <a:lnTo>
                          <a:pt x="170" y="133"/>
                        </a:lnTo>
                        <a:lnTo>
                          <a:pt x="118" y="182"/>
                        </a:lnTo>
                        <a:lnTo>
                          <a:pt x="66" y="230"/>
                        </a:lnTo>
                        <a:lnTo>
                          <a:pt x="39" y="267"/>
                        </a:lnTo>
                        <a:lnTo>
                          <a:pt x="39" y="303"/>
                        </a:lnTo>
                        <a:lnTo>
                          <a:pt x="0" y="327"/>
                        </a:lnTo>
                        <a:lnTo>
                          <a:pt x="0" y="388"/>
                        </a:lnTo>
                        <a:lnTo>
                          <a:pt x="66" y="400"/>
                        </a:lnTo>
                        <a:lnTo>
                          <a:pt x="131" y="424"/>
                        </a:lnTo>
                        <a:lnTo>
                          <a:pt x="183" y="436"/>
                        </a:lnTo>
                        <a:lnTo>
                          <a:pt x="314" y="436"/>
                        </a:lnTo>
                        <a:lnTo>
                          <a:pt x="327" y="497"/>
                        </a:lnTo>
                        <a:lnTo>
                          <a:pt x="379" y="509"/>
                        </a:lnTo>
                        <a:lnTo>
                          <a:pt x="406" y="412"/>
                        </a:lnTo>
                        <a:lnTo>
                          <a:pt x="432" y="339"/>
                        </a:lnTo>
                        <a:lnTo>
                          <a:pt x="458" y="315"/>
                        </a:lnTo>
                        <a:lnTo>
                          <a:pt x="484" y="279"/>
                        </a:lnTo>
                        <a:lnTo>
                          <a:pt x="484" y="315"/>
                        </a:lnTo>
                        <a:lnTo>
                          <a:pt x="471" y="339"/>
                        </a:lnTo>
                        <a:lnTo>
                          <a:pt x="471" y="352"/>
                        </a:lnTo>
                        <a:lnTo>
                          <a:pt x="458" y="364"/>
                        </a:lnTo>
                        <a:lnTo>
                          <a:pt x="445" y="412"/>
                        </a:lnTo>
                        <a:lnTo>
                          <a:pt x="484" y="364"/>
                        </a:lnTo>
                        <a:lnTo>
                          <a:pt x="510" y="327"/>
                        </a:lnTo>
                        <a:lnTo>
                          <a:pt x="536" y="279"/>
                        </a:lnTo>
                        <a:lnTo>
                          <a:pt x="549" y="255"/>
                        </a:lnTo>
                        <a:lnTo>
                          <a:pt x="549" y="230"/>
                        </a:lnTo>
                        <a:lnTo>
                          <a:pt x="549" y="206"/>
                        </a:lnTo>
                        <a:lnTo>
                          <a:pt x="549" y="182"/>
                        </a:lnTo>
                        <a:lnTo>
                          <a:pt x="562" y="146"/>
                        </a:lnTo>
                        <a:lnTo>
                          <a:pt x="549" y="85"/>
                        </a:lnTo>
                        <a:lnTo>
                          <a:pt x="510" y="49"/>
                        </a:lnTo>
                        <a:lnTo>
                          <a:pt x="432" y="12"/>
                        </a:lnTo>
                        <a:lnTo>
                          <a:pt x="379" y="0"/>
                        </a:lnTo>
                        <a:lnTo>
                          <a:pt x="314" y="12"/>
                        </a:lnTo>
                        <a:lnTo>
                          <a:pt x="236" y="12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56" name="Freeform 52">
                    <a:extLst>
                      <a:ext uri="{FF2B5EF4-FFF2-40B4-BE49-F238E27FC236}">
                        <a16:creationId xmlns:a16="http://schemas.microsoft.com/office/drawing/2014/main" id="{41BB2F93-EF26-4A13-AF14-67BF2DA61ED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061220" y="5718324"/>
                    <a:ext cx="850900" cy="735012"/>
                  </a:xfrm>
                  <a:custGeom>
                    <a:avLst/>
                    <a:gdLst>
                      <a:gd name="T0" fmla="*/ 356744 w 563"/>
                      <a:gd name="T1" fmla="*/ 17294 h 510"/>
                      <a:gd name="T2" fmla="*/ 315930 w 563"/>
                      <a:gd name="T3" fmla="*/ 105206 h 510"/>
                      <a:gd name="T4" fmla="*/ 256977 w 563"/>
                      <a:gd name="T5" fmla="*/ 191677 h 510"/>
                      <a:gd name="T6" fmla="*/ 178372 w 563"/>
                      <a:gd name="T7" fmla="*/ 262295 h 510"/>
                      <a:gd name="T8" fmla="*/ 99767 w 563"/>
                      <a:gd name="T9" fmla="*/ 331472 h 510"/>
                      <a:gd name="T10" fmla="*/ 58954 w 563"/>
                      <a:gd name="T11" fmla="*/ 384796 h 510"/>
                      <a:gd name="T12" fmla="*/ 58954 w 563"/>
                      <a:gd name="T13" fmla="*/ 436678 h 510"/>
                      <a:gd name="T14" fmla="*/ 0 w 563"/>
                      <a:gd name="T15" fmla="*/ 471267 h 510"/>
                      <a:gd name="T16" fmla="*/ 0 w 563"/>
                      <a:gd name="T17" fmla="*/ 559179 h 510"/>
                      <a:gd name="T18" fmla="*/ 99767 w 563"/>
                      <a:gd name="T19" fmla="*/ 576473 h 510"/>
                      <a:gd name="T20" fmla="*/ 198023 w 563"/>
                      <a:gd name="T21" fmla="*/ 611061 h 510"/>
                      <a:gd name="T22" fmla="*/ 276628 w 563"/>
                      <a:gd name="T23" fmla="*/ 628356 h 510"/>
                      <a:gd name="T24" fmla="*/ 474651 w 563"/>
                      <a:gd name="T25" fmla="*/ 628356 h 510"/>
                      <a:gd name="T26" fmla="*/ 494303 w 563"/>
                      <a:gd name="T27" fmla="*/ 716268 h 510"/>
                      <a:gd name="T28" fmla="*/ 572907 w 563"/>
                      <a:gd name="T29" fmla="*/ 733562 h 510"/>
                      <a:gd name="T30" fmla="*/ 613721 w 563"/>
                      <a:gd name="T31" fmla="*/ 593767 h 510"/>
                      <a:gd name="T32" fmla="*/ 653024 w 563"/>
                      <a:gd name="T33" fmla="*/ 488561 h 510"/>
                      <a:gd name="T34" fmla="*/ 692326 w 563"/>
                      <a:gd name="T35" fmla="*/ 453972 h 510"/>
                      <a:gd name="T36" fmla="*/ 731628 w 563"/>
                      <a:gd name="T37" fmla="*/ 402090 h 510"/>
                      <a:gd name="T38" fmla="*/ 731628 w 563"/>
                      <a:gd name="T39" fmla="*/ 453972 h 510"/>
                      <a:gd name="T40" fmla="*/ 711977 w 563"/>
                      <a:gd name="T41" fmla="*/ 488561 h 510"/>
                      <a:gd name="T42" fmla="*/ 711977 w 563"/>
                      <a:gd name="T43" fmla="*/ 507296 h 510"/>
                      <a:gd name="T44" fmla="*/ 692326 w 563"/>
                      <a:gd name="T45" fmla="*/ 524590 h 510"/>
                      <a:gd name="T46" fmla="*/ 672675 w 563"/>
                      <a:gd name="T47" fmla="*/ 593767 h 510"/>
                      <a:gd name="T48" fmla="*/ 731628 w 563"/>
                      <a:gd name="T49" fmla="*/ 524590 h 510"/>
                      <a:gd name="T50" fmla="*/ 770931 w 563"/>
                      <a:gd name="T51" fmla="*/ 471267 h 510"/>
                      <a:gd name="T52" fmla="*/ 810233 w 563"/>
                      <a:gd name="T53" fmla="*/ 402090 h 510"/>
                      <a:gd name="T54" fmla="*/ 829884 w 563"/>
                      <a:gd name="T55" fmla="*/ 367502 h 510"/>
                      <a:gd name="T56" fmla="*/ 829884 w 563"/>
                      <a:gd name="T57" fmla="*/ 331472 h 510"/>
                      <a:gd name="T58" fmla="*/ 829884 w 563"/>
                      <a:gd name="T59" fmla="*/ 296884 h 510"/>
                      <a:gd name="T60" fmla="*/ 829884 w 563"/>
                      <a:gd name="T61" fmla="*/ 262295 h 510"/>
                      <a:gd name="T62" fmla="*/ 849535 w 563"/>
                      <a:gd name="T63" fmla="*/ 210413 h 510"/>
                      <a:gd name="T64" fmla="*/ 829884 w 563"/>
                      <a:gd name="T65" fmla="*/ 122501 h 510"/>
                      <a:gd name="T66" fmla="*/ 770931 w 563"/>
                      <a:gd name="T67" fmla="*/ 70618 h 510"/>
                      <a:gd name="T68" fmla="*/ 653024 w 563"/>
                      <a:gd name="T69" fmla="*/ 17294 h 510"/>
                      <a:gd name="T70" fmla="*/ 572907 w 563"/>
                      <a:gd name="T71" fmla="*/ 0 h 510"/>
                      <a:gd name="T72" fmla="*/ 474651 w 563"/>
                      <a:gd name="T73" fmla="*/ 17294 h 510"/>
                      <a:gd name="T74" fmla="*/ 356744 w 563"/>
                      <a:gd name="T75" fmla="*/ 17294 h 510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</a:gdLst>
                    <a:ahLst/>
                    <a:cxnLst>
                      <a:cxn ang="T76">
                        <a:pos x="T0" y="T1"/>
                      </a:cxn>
                      <a:cxn ang="T77">
                        <a:pos x="T2" y="T3"/>
                      </a:cxn>
                      <a:cxn ang="T78">
                        <a:pos x="T4" y="T5"/>
                      </a:cxn>
                      <a:cxn ang="T79">
                        <a:pos x="T6" y="T7"/>
                      </a:cxn>
                      <a:cxn ang="T80">
                        <a:pos x="T8" y="T9"/>
                      </a:cxn>
                      <a:cxn ang="T81">
                        <a:pos x="T10" y="T11"/>
                      </a:cxn>
                      <a:cxn ang="T82">
                        <a:pos x="T12" y="T13"/>
                      </a:cxn>
                      <a:cxn ang="T83">
                        <a:pos x="T14" y="T15"/>
                      </a:cxn>
                      <a:cxn ang="T84">
                        <a:pos x="T16" y="T17"/>
                      </a:cxn>
                      <a:cxn ang="T85">
                        <a:pos x="T18" y="T19"/>
                      </a:cxn>
                      <a:cxn ang="T86">
                        <a:pos x="T20" y="T21"/>
                      </a:cxn>
                      <a:cxn ang="T87">
                        <a:pos x="T22" y="T23"/>
                      </a:cxn>
                      <a:cxn ang="T88">
                        <a:pos x="T24" y="T25"/>
                      </a:cxn>
                      <a:cxn ang="T89">
                        <a:pos x="T26" y="T27"/>
                      </a:cxn>
                      <a:cxn ang="T90">
                        <a:pos x="T28" y="T29"/>
                      </a:cxn>
                      <a:cxn ang="T91">
                        <a:pos x="T30" y="T31"/>
                      </a:cxn>
                      <a:cxn ang="T92">
                        <a:pos x="T32" y="T33"/>
                      </a:cxn>
                      <a:cxn ang="T93">
                        <a:pos x="T34" y="T35"/>
                      </a:cxn>
                      <a:cxn ang="T94">
                        <a:pos x="T36" y="T37"/>
                      </a:cxn>
                      <a:cxn ang="T95">
                        <a:pos x="T38" y="T39"/>
                      </a:cxn>
                      <a:cxn ang="T96">
                        <a:pos x="T40" y="T41"/>
                      </a:cxn>
                      <a:cxn ang="T97">
                        <a:pos x="T42" y="T43"/>
                      </a:cxn>
                      <a:cxn ang="T98">
                        <a:pos x="T44" y="T45"/>
                      </a:cxn>
                      <a:cxn ang="T99">
                        <a:pos x="T46" y="T47"/>
                      </a:cxn>
                      <a:cxn ang="T100">
                        <a:pos x="T48" y="T49"/>
                      </a:cxn>
                      <a:cxn ang="T101">
                        <a:pos x="T50" y="T51"/>
                      </a:cxn>
                      <a:cxn ang="T102">
                        <a:pos x="T52" y="T53"/>
                      </a:cxn>
                      <a:cxn ang="T103">
                        <a:pos x="T54" y="T55"/>
                      </a:cxn>
                      <a:cxn ang="T104">
                        <a:pos x="T56" y="T57"/>
                      </a:cxn>
                      <a:cxn ang="T105">
                        <a:pos x="T58" y="T59"/>
                      </a:cxn>
                      <a:cxn ang="T106">
                        <a:pos x="T60" y="T61"/>
                      </a:cxn>
                      <a:cxn ang="T107">
                        <a:pos x="T62" y="T63"/>
                      </a:cxn>
                      <a:cxn ang="T108">
                        <a:pos x="T64" y="T65"/>
                      </a:cxn>
                      <a:cxn ang="T109">
                        <a:pos x="T66" y="T67"/>
                      </a:cxn>
                      <a:cxn ang="T110">
                        <a:pos x="T68" y="T69"/>
                      </a:cxn>
                      <a:cxn ang="T111">
                        <a:pos x="T70" y="T71"/>
                      </a:cxn>
                      <a:cxn ang="T112">
                        <a:pos x="T72" y="T73"/>
                      </a:cxn>
                      <a:cxn ang="T113">
                        <a:pos x="T74" y="T75"/>
                      </a:cxn>
                    </a:cxnLst>
                    <a:rect l="0" t="0" r="r" b="b"/>
                    <a:pathLst>
                      <a:path w="563" h="510">
                        <a:moveTo>
                          <a:pt x="236" y="12"/>
                        </a:moveTo>
                        <a:lnTo>
                          <a:pt x="209" y="73"/>
                        </a:lnTo>
                        <a:lnTo>
                          <a:pt x="170" y="133"/>
                        </a:lnTo>
                        <a:lnTo>
                          <a:pt x="118" y="182"/>
                        </a:lnTo>
                        <a:lnTo>
                          <a:pt x="66" y="230"/>
                        </a:lnTo>
                        <a:lnTo>
                          <a:pt x="39" y="267"/>
                        </a:lnTo>
                        <a:lnTo>
                          <a:pt x="39" y="303"/>
                        </a:lnTo>
                        <a:lnTo>
                          <a:pt x="0" y="327"/>
                        </a:lnTo>
                        <a:lnTo>
                          <a:pt x="0" y="388"/>
                        </a:lnTo>
                        <a:lnTo>
                          <a:pt x="66" y="400"/>
                        </a:lnTo>
                        <a:lnTo>
                          <a:pt x="131" y="424"/>
                        </a:lnTo>
                        <a:lnTo>
                          <a:pt x="183" y="436"/>
                        </a:lnTo>
                        <a:lnTo>
                          <a:pt x="314" y="436"/>
                        </a:lnTo>
                        <a:lnTo>
                          <a:pt x="327" y="497"/>
                        </a:lnTo>
                        <a:lnTo>
                          <a:pt x="379" y="509"/>
                        </a:lnTo>
                        <a:lnTo>
                          <a:pt x="406" y="412"/>
                        </a:lnTo>
                        <a:lnTo>
                          <a:pt x="432" y="339"/>
                        </a:lnTo>
                        <a:lnTo>
                          <a:pt x="458" y="315"/>
                        </a:lnTo>
                        <a:lnTo>
                          <a:pt x="484" y="279"/>
                        </a:lnTo>
                        <a:lnTo>
                          <a:pt x="484" y="315"/>
                        </a:lnTo>
                        <a:lnTo>
                          <a:pt x="471" y="339"/>
                        </a:lnTo>
                        <a:lnTo>
                          <a:pt x="471" y="352"/>
                        </a:lnTo>
                        <a:lnTo>
                          <a:pt x="458" y="364"/>
                        </a:lnTo>
                        <a:lnTo>
                          <a:pt x="445" y="412"/>
                        </a:lnTo>
                        <a:lnTo>
                          <a:pt x="484" y="364"/>
                        </a:lnTo>
                        <a:lnTo>
                          <a:pt x="510" y="327"/>
                        </a:lnTo>
                        <a:lnTo>
                          <a:pt x="536" y="279"/>
                        </a:lnTo>
                        <a:lnTo>
                          <a:pt x="549" y="255"/>
                        </a:lnTo>
                        <a:lnTo>
                          <a:pt x="549" y="230"/>
                        </a:lnTo>
                        <a:lnTo>
                          <a:pt x="549" y="206"/>
                        </a:lnTo>
                        <a:lnTo>
                          <a:pt x="549" y="182"/>
                        </a:lnTo>
                        <a:lnTo>
                          <a:pt x="562" y="146"/>
                        </a:lnTo>
                        <a:lnTo>
                          <a:pt x="549" y="85"/>
                        </a:lnTo>
                        <a:lnTo>
                          <a:pt x="510" y="49"/>
                        </a:lnTo>
                        <a:lnTo>
                          <a:pt x="432" y="12"/>
                        </a:lnTo>
                        <a:lnTo>
                          <a:pt x="379" y="0"/>
                        </a:lnTo>
                        <a:lnTo>
                          <a:pt x="314" y="12"/>
                        </a:lnTo>
                        <a:lnTo>
                          <a:pt x="236" y="12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57" name="Freeform 53">
                    <a:extLst>
                      <a:ext uri="{FF2B5EF4-FFF2-40B4-BE49-F238E27FC236}">
                        <a16:creationId xmlns:a16="http://schemas.microsoft.com/office/drawing/2014/main" id="{2DD509A4-8B53-4E61-950A-DA345BEF78D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35745" y="1627336"/>
                    <a:ext cx="1860550" cy="1727200"/>
                  </a:xfrm>
                  <a:custGeom>
                    <a:avLst/>
                    <a:gdLst>
                      <a:gd name="T0" fmla="*/ 475325 w 1229"/>
                      <a:gd name="T1" fmla="*/ 1726982 h 1201"/>
                      <a:gd name="T2" fmla="*/ 1422948 w 1229"/>
                      <a:gd name="T3" fmla="*/ 1639194 h 1201"/>
                      <a:gd name="T4" fmla="*/ 1463820 w 1229"/>
                      <a:gd name="T5" fmla="*/ 1516866 h 1201"/>
                      <a:gd name="T6" fmla="*/ 1483499 w 1229"/>
                      <a:gd name="T7" fmla="*/ 1359998 h 1201"/>
                      <a:gd name="T8" fmla="*/ 1542536 w 1229"/>
                      <a:gd name="T9" fmla="*/ 1203131 h 1201"/>
                      <a:gd name="T10" fmla="*/ 1680290 w 1229"/>
                      <a:gd name="T11" fmla="*/ 1080803 h 1201"/>
                      <a:gd name="T12" fmla="*/ 1740841 w 1229"/>
                      <a:gd name="T13" fmla="*/ 975745 h 1201"/>
                      <a:gd name="T14" fmla="*/ 1819557 w 1229"/>
                      <a:gd name="T15" fmla="*/ 853417 h 1201"/>
                      <a:gd name="T16" fmla="*/ 1839236 w 1229"/>
                      <a:gd name="T17" fmla="*/ 679280 h 1201"/>
                      <a:gd name="T18" fmla="*/ 1780199 w 1229"/>
                      <a:gd name="T19" fmla="*/ 575661 h 1201"/>
                      <a:gd name="T20" fmla="*/ 1640932 w 1229"/>
                      <a:gd name="T21" fmla="*/ 610200 h 1201"/>
                      <a:gd name="T22" fmla="*/ 1562215 w 1229"/>
                      <a:gd name="T23" fmla="*/ 679280 h 1201"/>
                      <a:gd name="T24" fmla="*/ 1522857 w 1229"/>
                      <a:gd name="T25" fmla="*/ 767068 h 1201"/>
                      <a:gd name="T26" fmla="*/ 1422948 w 1229"/>
                      <a:gd name="T27" fmla="*/ 767068 h 1201"/>
                      <a:gd name="T28" fmla="*/ 1324553 w 1229"/>
                      <a:gd name="T29" fmla="*/ 732528 h 1201"/>
                      <a:gd name="T30" fmla="*/ 1226157 w 1229"/>
                      <a:gd name="T31" fmla="*/ 784338 h 1201"/>
                      <a:gd name="T32" fmla="*/ 1185286 w 1229"/>
                      <a:gd name="T33" fmla="*/ 696549 h 1201"/>
                      <a:gd name="T34" fmla="*/ 1086890 w 1229"/>
                      <a:gd name="T35" fmla="*/ 732528 h 1201"/>
                      <a:gd name="T36" fmla="*/ 1086890 w 1229"/>
                      <a:gd name="T37" fmla="*/ 627470 h 1201"/>
                      <a:gd name="T38" fmla="*/ 1226157 w 1229"/>
                      <a:gd name="T39" fmla="*/ 539682 h 1201"/>
                      <a:gd name="T40" fmla="*/ 1265516 w 1229"/>
                      <a:gd name="T41" fmla="*/ 453333 h 1201"/>
                      <a:gd name="T42" fmla="*/ 1324553 w 1229"/>
                      <a:gd name="T43" fmla="*/ 348275 h 1201"/>
                      <a:gd name="T44" fmla="*/ 1324553 w 1229"/>
                      <a:gd name="T45" fmla="*/ 296465 h 1201"/>
                      <a:gd name="T46" fmla="*/ 1206478 w 1229"/>
                      <a:gd name="T47" fmla="*/ 243217 h 1201"/>
                      <a:gd name="T48" fmla="*/ 1126248 w 1229"/>
                      <a:gd name="T49" fmla="*/ 103619 h 1201"/>
                      <a:gd name="T50" fmla="*/ 1086890 w 1229"/>
                      <a:gd name="T51" fmla="*/ 0 h 1201"/>
                      <a:gd name="T52" fmla="*/ 1027853 w 1229"/>
                      <a:gd name="T53" fmla="*/ 156868 h 1201"/>
                      <a:gd name="T54" fmla="*/ 927944 w 1229"/>
                      <a:gd name="T55" fmla="*/ 296465 h 1201"/>
                      <a:gd name="T56" fmla="*/ 712988 w 1229"/>
                      <a:gd name="T57" fmla="*/ 260486 h 1201"/>
                      <a:gd name="T58" fmla="*/ 534362 w 1229"/>
                      <a:gd name="T59" fmla="*/ 277756 h 1201"/>
                      <a:gd name="T60" fmla="*/ 416288 w 1229"/>
                      <a:gd name="T61" fmla="*/ 348275 h 1201"/>
                      <a:gd name="T62" fmla="*/ 257342 w 1229"/>
                      <a:gd name="T63" fmla="*/ 348275 h 1201"/>
                      <a:gd name="T64" fmla="*/ 59037 w 1229"/>
                      <a:gd name="T65" fmla="*/ 400084 h 1201"/>
                      <a:gd name="T66" fmla="*/ 0 w 1229"/>
                      <a:gd name="T67" fmla="*/ 522412 h 1201"/>
                      <a:gd name="T68" fmla="*/ 98395 w 1229"/>
                      <a:gd name="T69" fmla="*/ 662010 h 1201"/>
                      <a:gd name="T70" fmla="*/ 178625 w 1229"/>
                      <a:gd name="T71" fmla="*/ 749798 h 1201"/>
                      <a:gd name="T72" fmla="*/ 375416 w 1229"/>
                      <a:gd name="T73" fmla="*/ 853417 h 1201"/>
                      <a:gd name="T74" fmla="*/ 416288 w 1229"/>
                      <a:gd name="T75" fmla="*/ 1080803 h 1201"/>
                      <a:gd name="T76" fmla="*/ 375416 w 1229"/>
                      <a:gd name="T77" fmla="*/ 1185861 h 1201"/>
                      <a:gd name="T78" fmla="*/ 375416 w 1229"/>
                      <a:gd name="T79" fmla="*/ 1325459 h 1201"/>
                      <a:gd name="T80" fmla="*/ 355737 w 1229"/>
                      <a:gd name="T81" fmla="*/ 1429077 h 1201"/>
                      <a:gd name="T82" fmla="*/ 375416 w 1229"/>
                      <a:gd name="T83" fmla="*/ 1499596 h 1201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</a:gdLst>
                    <a:ahLst/>
                    <a:cxnLst>
                      <a:cxn ang="T84">
                        <a:pos x="T0" y="T1"/>
                      </a:cxn>
                      <a:cxn ang="T85">
                        <a:pos x="T2" y="T3"/>
                      </a:cxn>
                      <a:cxn ang="T86">
                        <a:pos x="T4" y="T5"/>
                      </a:cxn>
                      <a:cxn ang="T87">
                        <a:pos x="T6" y="T7"/>
                      </a:cxn>
                      <a:cxn ang="T88">
                        <a:pos x="T8" y="T9"/>
                      </a:cxn>
                      <a:cxn ang="T89">
                        <a:pos x="T10" y="T11"/>
                      </a:cxn>
                      <a:cxn ang="T90">
                        <a:pos x="T12" y="T13"/>
                      </a:cxn>
                      <a:cxn ang="T91">
                        <a:pos x="T14" y="T15"/>
                      </a:cxn>
                      <a:cxn ang="T92">
                        <a:pos x="T16" y="T17"/>
                      </a:cxn>
                      <a:cxn ang="T93">
                        <a:pos x="T18" y="T19"/>
                      </a:cxn>
                      <a:cxn ang="T94">
                        <a:pos x="T20" y="T21"/>
                      </a:cxn>
                      <a:cxn ang="T95">
                        <a:pos x="T22" y="T23"/>
                      </a:cxn>
                      <a:cxn ang="T96">
                        <a:pos x="T24" y="T25"/>
                      </a:cxn>
                      <a:cxn ang="T97">
                        <a:pos x="T26" y="T27"/>
                      </a:cxn>
                      <a:cxn ang="T98">
                        <a:pos x="T28" y="T29"/>
                      </a:cxn>
                      <a:cxn ang="T99">
                        <a:pos x="T30" y="T31"/>
                      </a:cxn>
                      <a:cxn ang="T100">
                        <a:pos x="T32" y="T33"/>
                      </a:cxn>
                      <a:cxn ang="T101">
                        <a:pos x="T34" y="T35"/>
                      </a:cxn>
                      <a:cxn ang="T102">
                        <a:pos x="T36" y="T37"/>
                      </a:cxn>
                      <a:cxn ang="T103">
                        <a:pos x="T38" y="T39"/>
                      </a:cxn>
                      <a:cxn ang="T104">
                        <a:pos x="T40" y="T41"/>
                      </a:cxn>
                      <a:cxn ang="T105">
                        <a:pos x="T42" y="T43"/>
                      </a:cxn>
                      <a:cxn ang="T106">
                        <a:pos x="T44" y="T45"/>
                      </a:cxn>
                      <a:cxn ang="T107">
                        <a:pos x="T46" y="T47"/>
                      </a:cxn>
                      <a:cxn ang="T108">
                        <a:pos x="T48" y="T49"/>
                      </a:cxn>
                      <a:cxn ang="T109">
                        <a:pos x="T50" y="T51"/>
                      </a:cxn>
                      <a:cxn ang="T110">
                        <a:pos x="T52" y="T53"/>
                      </a:cxn>
                      <a:cxn ang="T111">
                        <a:pos x="T54" y="T55"/>
                      </a:cxn>
                      <a:cxn ang="T112">
                        <a:pos x="T56" y="T57"/>
                      </a:cxn>
                      <a:cxn ang="T113">
                        <a:pos x="T58" y="T59"/>
                      </a:cxn>
                      <a:cxn ang="T114">
                        <a:pos x="T60" y="T61"/>
                      </a:cxn>
                      <a:cxn ang="T115">
                        <a:pos x="T62" y="T63"/>
                      </a:cxn>
                      <a:cxn ang="T116">
                        <a:pos x="T64" y="T65"/>
                      </a:cxn>
                      <a:cxn ang="T117">
                        <a:pos x="T66" y="T67"/>
                      </a:cxn>
                      <a:cxn ang="T118">
                        <a:pos x="T68" y="T69"/>
                      </a:cxn>
                      <a:cxn ang="T119">
                        <a:pos x="T70" y="T71"/>
                      </a:cxn>
                      <a:cxn ang="T120">
                        <a:pos x="T72" y="T73"/>
                      </a:cxn>
                      <a:cxn ang="T121">
                        <a:pos x="T74" y="T75"/>
                      </a:cxn>
                      <a:cxn ang="T122">
                        <a:pos x="T76" y="T77"/>
                      </a:cxn>
                      <a:cxn ang="T123">
                        <a:pos x="T78" y="T79"/>
                      </a:cxn>
                      <a:cxn ang="T124">
                        <a:pos x="T80" y="T81"/>
                      </a:cxn>
                      <a:cxn ang="T125">
                        <a:pos x="T82" y="T83"/>
                      </a:cxn>
                    </a:cxnLst>
                    <a:rect l="0" t="0" r="r" b="b"/>
                    <a:pathLst>
                      <a:path w="1229" h="1201">
                        <a:moveTo>
                          <a:pt x="248" y="1115"/>
                        </a:moveTo>
                        <a:lnTo>
                          <a:pt x="314" y="1200"/>
                        </a:lnTo>
                        <a:lnTo>
                          <a:pt x="875" y="1175"/>
                        </a:lnTo>
                        <a:lnTo>
                          <a:pt x="940" y="1139"/>
                        </a:lnTo>
                        <a:lnTo>
                          <a:pt x="967" y="1103"/>
                        </a:lnTo>
                        <a:lnTo>
                          <a:pt x="967" y="1054"/>
                        </a:lnTo>
                        <a:lnTo>
                          <a:pt x="980" y="1018"/>
                        </a:lnTo>
                        <a:lnTo>
                          <a:pt x="980" y="945"/>
                        </a:lnTo>
                        <a:lnTo>
                          <a:pt x="1006" y="921"/>
                        </a:lnTo>
                        <a:lnTo>
                          <a:pt x="1019" y="836"/>
                        </a:lnTo>
                        <a:lnTo>
                          <a:pt x="1058" y="800"/>
                        </a:lnTo>
                        <a:lnTo>
                          <a:pt x="1110" y="751"/>
                        </a:lnTo>
                        <a:lnTo>
                          <a:pt x="1137" y="727"/>
                        </a:lnTo>
                        <a:lnTo>
                          <a:pt x="1150" y="678"/>
                        </a:lnTo>
                        <a:lnTo>
                          <a:pt x="1163" y="630"/>
                        </a:lnTo>
                        <a:lnTo>
                          <a:pt x="1202" y="593"/>
                        </a:lnTo>
                        <a:lnTo>
                          <a:pt x="1215" y="545"/>
                        </a:lnTo>
                        <a:lnTo>
                          <a:pt x="1215" y="472"/>
                        </a:lnTo>
                        <a:lnTo>
                          <a:pt x="1228" y="424"/>
                        </a:lnTo>
                        <a:lnTo>
                          <a:pt x="1176" y="400"/>
                        </a:lnTo>
                        <a:lnTo>
                          <a:pt x="1110" y="400"/>
                        </a:lnTo>
                        <a:lnTo>
                          <a:pt x="1084" y="424"/>
                        </a:lnTo>
                        <a:lnTo>
                          <a:pt x="1058" y="448"/>
                        </a:lnTo>
                        <a:lnTo>
                          <a:pt x="1032" y="472"/>
                        </a:lnTo>
                        <a:lnTo>
                          <a:pt x="1019" y="496"/>
                        </a:lnTo>
                        <a:lnTo>
                          <a:pt x="1006" y="533"/>
                        </a:lnTo>
                        <a:lnTo>
                          <a:pt x="980" y="545"/>
                        </a:lnTo>
                        <a:lnTo>
                          <a:pt x="940" y="533"/>
                        </a:lnTo>
                        <a:lnTo>
                          <a:pt x="888" y="496"/>
                        </a:lnTo>
                        <a:lnTo>
                          <a:pt x="875" y="509"/>
                        </a:lnTo>
                        <a:lnTo>
                          <a:pt x="823" y="545"/>
                        </a:lnTo>
                        <a:lnTo>
                          <a:pt x="810" y="545"/>
                        </a:lnTo>
                        <a:lnTo>
                          <a:pt x="797" y="496"/>
                        </a:lnTo>
                        <a:lnTo>
                          <a:pt x="783" y="484"/>
                        </a:lnTo>
                        <a:lnTo>
                          <a:pt x="744" y="496"/>
                        </a:lnTo>
                        <a:lnTo>
                          <a:pt x="718" y="509"/>
                        </a:lnTo>
                        <a:lnTo>
                          <a:pt x="705" y="472"/>
                        </a:lnTo>
                        <a:lnTo>
                          <a:pt x="718" y="436"/>
                        </a:lnTo>
                        <a:lnTo>
                          <a:pt x="783" y="387"/>
                        </a:lnTo>
                        <a:lnTo>
                          <a:pt x="810" y="375"/>
                        </a:lnTo>
                        <a:lnTo>
                          <a:pt x="836" y="327"/>
                        </a:lnTo>
                        <a:lnTo>
                          <a:pt x="836" y="315"/>
                        </a:lnTo>
                        <a:lnTo>
                          <a:pt x="862" y="278"/>
                        </a:lnTo>
                        <a:lnTo>
                          <a:pt x="875" y="242"/>
                        </a:lnTo>
                        <a:lnTo>
                          <a:pt x="875" y="218"/>
                        </a:lnTo>
                        <a:lnTo>
                          <a:pt x="875" y="206"/>
                        </a:lnTo>
                        <a:lnTo>
                          <a:pt x="823" y="169"/>
                        </a:lnTo>
                        <a:lnTo>
                          <a:pt x="797" y="169"/>
                        </a:lnTo>
                        <a:lnTo>
                          <a:pt x="783" y="121"/>
                        </a:lnTo>
                        <a:lnTo>
                          <a:pt x="744" y="72"/>
                        </a:lnTo>
                        <a:lnTo>
                          <a:pt x="744" y="36"/>
                        </a:lnTo>
                        <a:lnTo>
                          <a:pt x="718" y="0"/>
                        </a:lnTo>
                        <a:lnTo>
                          <a:pt x="692" y="72"/>
                        </a:lnTo>
                        <a:lnTo>
                          <a:pt x="679" y="109"/>
                        </a:lnTo>
                        <a:lnTo>
                          <a:pt x="653" y="157"/>
                        </a:lnTo>
                        <a:lnTo>
                          <a:pt x="613" y="206"/>
                        </a:lnTo>
                        <a:lnTo>
                          <a:pt x="510" y="206"/>
                        </a:lnTo>
                        <a:lnTo>
                          <a:pt x="471" y="181"/>
                        </a:lnTo>
                        <a:lnTo>
                          <a:pt x="379" y="193"/>
                        </a:lnTo>
                        <a:lnTo>
                          <a:pt x="353" y="193"/>
                        </a:lnTo>
                        <a:lnTo>
                          <a:pt x="327" y="218"/>
                        </a:lnTo>
                        <a:lnTo>
                          <a:pt x="275" y="242"/>
                        </a:lnTo>
                        <a:lnTo>
                          <a:pt x="222" y="242"/>
                        </a:lnTo>
                        <a:lnTo>
                          <a:pt x="170" y="242"/>
                        </a:lnTo>
                        <a:lnTo>
                          <a:pt x="131" y="266"/>
                        </a:lnTo>
                        <a:lnTo>
                          <a:pt x="39" y="278"/>
                        </a:lnTo>
                        <a:lnTo>
                          <a:pt x="0" y="290"/>
                        </a:lnTo>
                        <a:lnTo>
                          <a:pt x="0" y="363"/>
                        </a:lnTo>
                        <a:lnTo>
                          <a:pt x="26" y="412"/>
                        </a:lnTo>
                        <a:lnTo>
                          <a:pt x="65" y="460"/>
                        </a:lnTo>
                        <a:lnTo>
                          <a:pt x="91" y="496"/>
                        </a:lnTo>
                        <a:lnTo>
                          <a:pt x="118" y="521"/>
                        </a:lnTo>
                        <a:lnTo>
                          <a:pt x="144" y="545"/>
                        </a:lnTo>
                        <a:lnTo>
                          <a:pt x="248" y="593"/>
                        </a:lnTo>
                        <a:lnTo>
                          <a:pt x="275" y="630"/>
                        </a:lnTo>
                        <a:lnTo>
                          <a:pt x="275" y="751"/>
                        </a:lnTo>
                        <a:lnTo>
                          <a:pt x="248" y="787"/>
                        </a:lnTo>
                        <a:lnTo>
                          <a:pt x="248" y="824"/>
                        </a:lnTo>
                        <a:lnTo>
                          <a:pt x="248" y="860"/>
                        </a:lnTo>
                        <a:lnTo>
                          <a:pt x="248" y="921"/>
                        </a:lnTo>
                        <a:lnTo>
                          <a:pt x="248" y="969"/>
                        </a:lnTo>
                        <a:lnTo>
                          <a:pt x="235" y="993"/>
                        </a:lnTo>
                        <a:lnTo>
                          <a:pt x="235" y="1018"/>
                        </a:lnTo>
                        <a:lnTo>
                          <a:pt x="248" y="1042"/>
                        </a:lnTo>
                        <a:lnTo>
                          <a:pt x="248" y="1115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58" name="Freeform 54">
                    <a:extLst>
                      <a:ext uri="{FF2B5EF4-FFF2-40B4-BE49-F238E27FC236}">
                        <a16:creationId xmlns:a16="http://schemas.microsoft.com/office/drawing/2014/main" id="{BADBF0A8-B382-4661-A8F3-0E30BC94621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527695" y="3275161"/>
                    <a:ext cx="868362" cy="804863"/>
                  </a:xfrm>
                  <a:custGeom>
                    <a:avLst/>
                    <a:gdLst>
                      <a:gd name="T0" fmla="*/ 39278 w 575"/>
                      <a:gd name="T1" fmla="*/ 419010 h 559"/>
                      <a:gd name="T2" fmla="*/ 117833 w 575"/>
                      <a:gd name="T3" fmla="*/ 384452 h 559"/>
                      <a:gd name="T4" fmla="*/ 137472 w 575"/>
                      <a:gd name="T5" fmla="*/ 367174 h 559"/>
                      <a:gd name="T6" fmla="*/ 196388 w 575"/>
                      <a:gd name="T7" fmla="*/ 401731 h 559"/>
                      <a:gd name="T8" fmla="*/ 216027 w 575"/>
                      <a:gd name="T9" fmla="*/ 488125 h 559"/>
                      <a:gd name="T10" fmla="*/ 296093 w 575"/>
                      <a:gd name="T11" fmla="*/ 524122 h 559"/>
                      <a:gd name="T12" fmla="*/ 296093 w 575"/>
                      <a:gd name="T13" fmla="*/ 610516 h 559"/>
                      <a:gd name="T14" fmla="*/ 335371 w 575"/>
                      <a:gd name="T15" fmla="*/ 663792 h 559"/>
                      <a:gd name="T16" fmla="*/ 531759 w 575"/>
                      <a:gd name="T17" fmla="*/ 645074 h 559"/>
                      <a:gd name="T18" fmla="*/ 531759 w 575"/>
                      <a:gd name="T19" fmla="*/ 663792 h 559"/>
                      <a:gd name="T20" fmla="*/ 571036 w 575"/>
                      <a:gd name="T21" fmla="*/ 698350 h 559"/>
                      <a:gd name="T22" fmla="*/ 649592 w 575"/>
                      <a:gd name="T23" fmla="*/ 715628 h 559"/>
                      <a:gd name="T24" fmla="*/ 747786 w 575"/>
                      <a:gd name="T25" fmla="*/ 767465 h 559"/>
                      <a:gd name="T26" fmla="*/ 767425 w 575"/>
                      <a:gd name="T27" fmla="*/ 803462 h 559"/>
                      <a:gd name="T28" fmla="*/ 767425 w 575"/>
                      <a:gd name="T29" fmla="*/ 767465 h 559"/>
                      <a:gd name="T30" fmla="*/ 808213 w 575"/>
                      <a:gd name="T31" fmla="*/ 767465 h 559"/>
                      <a:gd name="T32" fmla="*/ 808213 w 575"/>
                      <a:gd name="T33" fmla="*/ 698350 h 559"/>
                      <a:gd name="T34" fmla="*/ 808213 w 575"/>
                      <a:gd name="T35" fmla="*/ 645074 h 559"/>
                      <a:gd name="T36" fmla="*/ 847491 w 575"/>
                      <a:gd name="T37" fmla="*/ 575958 h 559"/>
                      <a:gd name="T38" fmla="*/ 867129 w 575"/>
                      <a:gd name="T39" fmla="*/ 488125 h 559"/>
                      <a:gd name="T40" fmla="*/ 827852 w 575"/>
                      <a:gd name="T41" fmla="*/ 401731 h 559"/>
                      <a:gd name="T42" fmla="*/ 747786 w 575"/>
                      <a:gd name="T43" fmla="*/ 296619 h 559"/>
                      <a:gd name="T44" fmla="*/ 708508 w 575"/>
                      <a:gd name="T45" fmla="*/ 262061 h 559"/>
                      <a:gd name="T46" fmla="*/ 688869 w 575"/>
                      <a:gd name="T47" fmla="*/ 227504 h 559"/>
                      <a:gd name="T48" fmla="*/ 688869 w 575"/>
                      <a:gd name="T49" fmla="*/ 139670 h 559"/>
                      <a:gd name="T50" fmla="*/ 649592 w 575"/>
                      <a:gd name="T51" fmla="*/ 105112 h 559"/>
                      <a:gd name="T52" fmla="*/ 610314 w 575"/>
                      <a:gd name="T53" fmla="*/ 122391 h 559"/>
                      <a:gd name="T54" fmla="*/ 610314 w 575"/>
                      <a:gd name="T55" fmla="*/ 70555 h 559"/>
                      <a:gd name="T56" fmla="*/ 571036 w 575"/>
                      <a:gd name="T57" fmla="*/ 51836 h 559"/>
                      <a:gd name="T58" fmla="*/ 531759 w 575"/>
                      <a:gd name="T59" fmla="*/ 51836 h 559"/>
                      <a:gd name="T60" fmla="*/ 471332 w 575"/>
                      <a:gd name="T61" fmla="*/ 17279 h 559"/>
                      <a:gd name="T62" fmla="*/ 432054 w 575"/>
                      <a:gd name="T63" fmla="*/ 0 h 559"/>
                      <a:gd name="T64" fmla="*/ 394287 w 575"/>
                      <a:gd name="T65" fmla="*/ 0 h 559"/>
                      <a:gd name="T66" fmla="*/ 335371 w 575"/>
                      <a:gd name="T67" fmla="*/ 17279 h 559"/>
                      <a:gd name="T68" fmla="*/ 256815 w 575"/>
                      <a:gd name="T69" fmla="*/ 51836 h 559"/>
                      <a:gd name="T70" fmla="*/ 256815 w 575"/>
                      <a:gd name="T71" fmla="*/ 87834 h 559"/>
                      <a:gd name="T72" fmla="*/ 216027 w 575"/>
                      <a:gd name="T73" fmla="*/ 87834 h 559"/>
                      <a:gd name="T74" fmla="*/ 157111 w 575"/>
                      <a:gd name="T75" fmla="*/ 139670 h 559"/>
                      <a:gd name="T76" fmla="*/ 137472 w 575"/>
                      <a:gd name="T77" fmla="*/ 156949 h 559"/>
                      <a:gd name="T78" fmla="*/ 98194 w 575"/>
                      <a:gd name="T79" fmla="*/ 191506 h 559"/>
                      <a:gd name="T80" fmla="*/ 19639 w 575"/>
                      <a:gd name="T81" fmla="*/ 244782 h 559"/>
                      <a:gd name="T82" fmla="*/ 0 w 575"/>
                      <a:gd name="T83" fmla="*/ 262061 h 559"/>
                      <a:gd name="T84" fmla="*/ 0 w 575"/>
                      <a:gd name="T85" fmla="*/ 313897 h 559"/>
                      <a:gd name="T86" fmla="*/ 39278 w 575"/>
                      <a:gd name="T87" fmla="*/ 419010 h 559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</a:gdLst>
                    <a:ahLst/>
                    <a:cxnLst>
                      <a:cxn ang="T88">
                        <a:pos x="T0" y="T1"/>
                      </a:cxn>
                      <a:cxn ang="T89">
                        <a:pos x="T2" y="T3"/>
                      </a:cxn>
                      <a:cxn ang="T90">
                        <a:pos x="T4" y="T5"/>
                      </a:cxn>
                      <a:cxn ang="T91">
                        <a:pos x="T6" y="T7"/>
                      </a:cxn>
                      <a:cxn ang="T92">
                        <a:pos x="T8" y="T9"/>
                      </a:cxn>
                      <a:cxn ang="T93">
                        <a:pos x="T10" y="T11"/>
                      </a:cxn>
                      <a:cxn ang="T94">
                        <a:pos x="T12" y="T13"/>
                      </a:cxn>
                      <a:cxn ang="T95">
                        <a:pos x="T14" y="T15"/>
                      </a:cxn>
                      <a:cxn ang="T96">
                        <a:pos x="T16" y="T17"/>
                      </a:cxn>
                      <a:cxn ang="T97">
                        <a:pos x="T18" y="T19"/>
                      </a:cxn>
                      <a:cxn ang="T98">
                        <a:pos x="T20" y="T21"/>
                      </a:cxn>
                      <a:cxn ang="T99">
                        <a:pos x="T22" y="T23"/>
                      </a:cxn>
                      <a:cxn ang="T100">
                        <a:pos x="T24" y="T25"/>
                      </a:cxn>
                      <a:cxn ang="T101">
                        <a:pos x="T26" y="T27"/>
                      </a:cxn>
                      <a:cxn ang="T102">
                        <a:pos x="T28" y="T29"/>
                      </a:cxn>
                      <a:cxn ang="T103">
                        <a:pos x="T30" y="T31"/>
                      </a:cxn>
                      <a:cxn ang="T104">
                        <a:pos x="T32" y="T33"/>
                      </a:cxn>
                      <a:cxn ang="T105">
                        <a:pos x="T34" y="T35"/>
                      </a:cxn>
                      <a:cxn ang="T106">
                        <a:pos x="T36" y="T37"/>
                      </a:cxn>
                      <a:cxn ang="T107">
                        <a:pos x="T38" y="T39"/>
                      </a:cxn>
                      <a:cxn ang="T108">
                        <a:pos x="T40" y="T41"/>
                      </a:cxn>
                      <a:cxn ang="T109">
                        <a:pos x="T42" y="T43"/>
                      </a:cxn>
                      <a:cxn ang="T110">
                        <a:pos x="T44" y="T45"/>
                      </a:cxn>
                      <a:cxn ang="T111">
                        <a:pos x="T46" y="T47"/>
                      </a:cxn>
                      <a:cxn ang="T112">
                        <a:pos x="T48" y="T49"/>
                      </a:cxn>
                      <a:cxn ang="T113">
                        <a:pos x="T50" y="T51"/>
                      </a:cxn>
                      <a:cxn ang="T114">
                        <a:pos x="T52" y="T53"/>
                      </a:cxn>
                      <a:cxn ang="T115">
                        <a:pos x="T54" y="T55"/>
                      </a:cxn>
                      <a:cxn ang="T116">
                        <a:pos x="T56" y="T57"/>
                      </a:cxn>
                      <a:cxn ang="T117">
                        <a:pos x="T58" y="T59"/>
                      </a:cxn>
                      <a:cxn ang="T118">
                        <a:pos x="T60" y="T61"/>
                      </a:cxn>
                      <a:cxn ang="T119">
                        <a:pos x="T62" y="T63"/>
                      </a:cxn>
                      <a:cxn ang="T120">
                        <a:pos x="T64" y="T65"/>
                      </a:cxn>
                      <a:cxn ang="T121">
                        <a:pos x="T66" y="T67"/>
                      </a:cxn>
                      <a:cxn ang="T122">
                        <a:pos x="T68" y="T69"/>
                      </a:cxn>
                      <a:cxn ang="T123">
                        <a:pos x="T70" y="T71"/>
                      </a:cxn>
                      <a:cxn ang="T124">
                        <a:pos x="T72" y="T73"/>
                      </a:cxn>
                      <a:cxn ang="T125">
                        <a:pos x="T74" y="T75"/>
                      </a:cxn>
                      <a:cxn ang="T126">
                        <a:pos x="T76" y="T77"/>
                      </a:cxn>
                      <a:cxn ang="T127">
                        <a:pos x="T78" y="T79"/>
                      </a:cxn>
                      <a:cxn ang="T128">
                        <a:pos x="T80" y="T81"/>
                      </a:cxn>
                      <a:cxn ang="T129">
                        <a:pos x="T82" y="T83"/>
                      </a:cxn>
                      <a:cxn ang="T130">
                        <a:pos x="T84" y="T85"/>
                      </a:cxn>
                      <a:cxn ang="T131">
                        <a:pos x="T86" y="T87"/>
                      </a:cxn>
                    </a:cxnLst>
                    <a:rect l="0" t="0" r="r" b="b"/>
                    <a:pathLst>
                      <a:path w="575" h="559">
                        <a:moveTo>
                          <a:pt x="26" y="291"/>
                        </a:moveTo>
                        <a:lnTo>
                          <a:pt x="78" y="267"/>
                        </a:lnTo>
                        <a:lnTo>
                          <a:pt x="91" y="255"/>
                        </a:lnTo>
                        <a:lnTo>
                          <a:pt x="130" y="279"/>
                        </a:lnTo>
                        <a:lnTo>
                          <a:pt x="143" y="339"/>
                        </a:lnTo>
                        <a:lnTo>
                          <a:pt x="196" y="364"/>
                        </a:lnTo>
                        <a:lnTo>
                          <a:pt x="196" y="424"/>
                        </a:lnTo>
                        <a:lnTo>
                          <a:pt x="222" y="461"/>
                        </a:lnTo>
                        <a:lnTo>
                          <a:pt x="352" y="448"/>
                        </a:lnTo>
                        <a:lnTo>
                          <a:pt x="352" y="461"/>
                        </a:lnTo>
                        <a:lnTo>
                          <a:pt x="378" y="485"/>
                        </a:lnTo>
                        <a:lnTo>
                          <a:pt x="430" y="497"/>
                        </a:lnTo>
                        <a:lnTo>
                          <a:pt x="495" y="533"/>
                        </a:lnTo>
                        <a:lnTo>
                          <a:pt x="508" y="558"/>
                        </a:lnTo>
                        <a:lnTo>
                          <a:pt x="508" y="533"/>
                        </a:lnTo>
                        <a:lnTo>
                          <a:pt x="535" y="533"/>
                        </a:lnTo>
                        <a:lnTo>
                          <a:pt x="535" y="485"/>
                        </a:lnTo>
                        <a:lnTo>
                          <a:pt x="535" y="448"/>
                        </a:lnTo>
                        <a:lnTo>
                          <a:pt x="561" y="400"/>
                        </a:lnTo>
                        <a:lnTo>
                          <a:pt x="574" y="339"/>
                        </a:lnTo>
                        <a:lnTo>
                          <a:pt x="548" y="279"/>
                        </a:lnTo>
                        <a:lnTo>
                          <a:pt x="495" y="206"/>
                        </a:lnTo>
                        <a:lnTo>
                          <a:pt x="469" y="182"/>
                        </a:lnTo>
                        <a:lnTo>
                          <a:pt x="456" y="158"/>
                        </a:lnTo>
                        <a:lnTo>
                          <a:pt x="456" y="97"/>
                        </a:lnTo>
                        <a:lnTo>
                          <a:pt x="430" y="73"/>
                        </a:lnTo>
                        <a:lnTo>
                          <a:pt x="404" y="85"/>
                        </a:lnTo>
                        <a:lnTo>
                          <a:pt x="404" y="49"/>
                        </a:lnTo>
                        <a:lnTo>
                          <a:pt x="378" y="36"/>
                        </a:lnTo>
                        <a:lnTo>
                          <a:pt x="352" y="36"/>
                        </a:lnTo>
                        <a:lnTo>
                          <a:pt x="312" y="12"/>
                        </a:lnTo>
                        <a:lnTo>
                          <a:pt x="286" y="0"/>
                        </a:lnTo>
                        <a:lnTo>
                          <a:pt x="261" y="0"/>
                        </a:lnTo>
                        <a:lnTo>
                          <a:pt x="222" y="12"/>
                        </a:lnTo>
                        <a:lnTo>
                          <a:pt x="170" y="36"/>
                        </a:lnTo>
                        <a:lnTo>
                          <a:pt x="170" y="61"/>
                        </a:lnTo>
                        <a:lnTo>
                          <a:pt x="143" y="61"/>
                        </a:lnTo>
                        <a:lnTo>
                          <a:pt x="104" y="97"/>
                        </a:lnTo>
                        <a:lnTo>
                          <a:pt x="91" y="109"/>
                        </a:lnTo>
                        <a:lnTo>
                          <a:pt x="65" y="133"/>
                        </a:lnTo>
                        <a:lnTo>
                          <a:pt x="13" y="170"/>
                        </a:lnTo>
                        <a:lnTo>
                          <a:pt x="0" y="182"/>
                        </a:lnTo>
                        <a:lnTo>
                          <a:pt x="0" y="218"/>
                        </a:lnTo>
                        <a:lnTo>
                          <a:pt x="26" y="291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round/>
                        <a:headEnd type="none" w="sm" len="sm"/>
                        <a:tailEnd type="stealth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59" name="Freeform 55">
                    <a:extLst>
                      <a:ext uri="{FF2B5EF4-FFF2-40B4-BE49-F238E27FC236}">
                        <a16:creationId xmlns:a16="http://schemas.microsoft.com/office/drawing/2014/main" id="{E2DAC68E-7FD8-4E77-BD10-113D4527B20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527695" y="3275161"/>
                    <a:ext cx="868362" cy="804863"/>
                  </a:xfrm>
                  <a:custGeom>
                    <a:avLst/>
                    <a:gdLst>
                      <a:gd name="T0" fmla="*/ 39278 w 575"/>
                      <a:gd name="T1" fmla="*/ 419010 h 559"/>
                      <a:gd name="T2" fmla="*/ 117833 w 575"/>
                      <a:gd name="T3" fmla="*/ 384452 h 559"/>
                      <a:gd name="T4" fmla="*/ 137472 w 575"/>
                      <a:gd name="T5" fmla="*/ 367174 h 559"/>
                      <a:gd name="T6" fmla="*/ 196388 w 575"/>
                      <a:gd name="T7" fmla="*/ 401731 h 559"/>
                      <a:gd name="T8" fmla="*/ 216027 w 575"/>
                      <a:gd name="T9" fmla="*/ 488125 h 559"/>
                      <a:gd name="T10" fmla="*/ 296093 w 575"/>
                      <a:gd name="T11" fmla="*/ 524122 h 559"/>
                      <a:gd name="T12" fmla="*/ 296093 w 575"/>
                      <a:gd name="T13" fmla="*/ 610516 h 559"/>
                      <a:gd name="T14" fmla="*/ 335371 w 575"/>
                      <a:gd name="T15" fmla="*/ 663792 h 559"/>
                      <a:gd name="T16" fmla="*/ 531759 w 575"/>
                      <a:gd name="T17" fmla="*/ 645074 h 559"/>
                      <a:gd name="T18" fmla="*/ 531759 w 575"/>
                      <a:gd name="T19" fmla="*/ 663792 h 559"/>
                      <a:gd name="T20" fmla="*/ 571036 w 575"/>
                      <a:gd name="T21" fmla="*/ 698350 h 559"/>
                      <a:gd name="T22" fmla="*/ 649592 w 575"/>
                      <a:gd name="T23" fmla="*/ 715628 h 559"/>
                      <a:gd name="T24" fmla="*/ 747786 w 575"/>
                      <a:gd name="T25" fmla="*/ 767465 h 559"/>
                      <a:gd name="T26" fmla="*/ 767425 w 575"/>
                      <a:gd name="T27" fmla="*/ 803462 h 559"/>
                      <a:gd name="T28" fmla="*/ 767425 w 575"/>
                      <a:gd name="T29" fmla="*/ 767465 h 559"/>
                      <a:gd name="T30" fmla="*/ 808213 w 575"/>
                      <a:gd name="T31" fmla="*/ 767465 h 559"/>
                      <a:gd name="T32" fmla="*/ 808213 w 575"/>
                      <a:gd name="T33" fmla="*/ 698350 h 559"/>
                      <a:gd name="T34" fmla="*/ 808213 w 575"/>
                      <a:gd name="T35" fmla="*/ 645074 h 559"/>
                      <a:gd name="T36" fmla="*/ 847491 w 575"/>
                      <a:gd name="T37" fmla="*/ 575958 h 559"/>
                      <a:gd name="T38" fmla="*/ 867129 w 575"/>
                      <a:gd name="T39" fmla="*/ 488125 h 559"/>
                      <a:gd name="T40" fmla="*/ 827852 w 575"/>
                      <a:gd name="T41" fmla="*/ 401731 h 559"/>
                      <a:gd name="T42" fmla="*/ 747786 w 575"/>
                      <a:gd name="T43" fmla="*/ 296619 h 559"/>
                      <a:gd name="T44" fmla="*/ 708508 w 575"/>
                      <a:gd name="T45" fmla="*/ 262061 h 559"/>
                      <a:gd name="T46" fmla="*/ 688869 w 575"/>
                      <a:gd name="T47" fmla="*/ 227504 h 559"/>
                      <a:gd name="T48" fmla="*/ 688869 w 575"/>
                      <a:gd name="T49" fmla="*/ 139670 h 559"/>
                      <a:gd name="T50" fmla="*/ 649592 w 575"/>
                      <a:gd name="T51" fmla="*/ 105112 h 559"/>
                      <a:gd name="T52" fmla="*/ 610314 w 575"/>
                      <a:gd name="T53" fmla="*/ 122391 h 559"/>
                      <a:gd name="T54" fmla="*/ 610314 w 575"/>
                      <a:gd name="T55" fmla="*/ 70555 h 559"/>
                      <a:gd name="T56" fmla="*/ 571036 w 575"/>
                      <a:gd name="T57" fmla="*/ 51836 h 559"/>
                      <a:gd name="T58" fmla="*/ 531759 w 575"/>
                      <a:gd name="T59" fmla="*/ 51836 h 559"/>
                      <a:gd name="T60" fmla="*/ 471332 w 575"/>
                      <a:gd name="T61" fmla="*/ 17279 h 559"/>
                      <a:gd name="T62" fmla="*/ 432054 w 575"/>
                      <a:gd name="T63" fmla="*/ 0 h 559"/>
                      <a:gd name="T64" fmla="*/ 394287 w 575"/>
                      <a:gd name="T65" fmla="*/ 0 h 559"/>
                      <a:gd name="T66" fmla="*/ 335371 w 575"/>
                      <a:gd name="T67" fmla="*/ 17279 h 559"/>
                      <a:gd name="T68" fmla="*/ 256815 w 575"/>
                      <a:gd name="T69" fmla="*/ 51836 h 559"/>
                      <a:gd name="T70" fmla="*/ 256815 w 575"/>
                      <a:gd name="T71" fmla="*/ 87834 h 559"/>
                      <a:gd name="T72" fmla="*/ 216027 w 575"/>
                      <a:gd name="T73" fmla="*/ 87834 h 559"/>
                      <a:gd name="T74" fmla="*/ 157111 w 575"/>
                      <a:gd name="T75" fmla="*/ 139670 h 559"/>
                      <a:gd name="T76" fmla="*/ 137472 w 575"/>
                      <a:gd name="T77" fmla="*/ 156949 h 559"/>
                      <a:gd name="T78" fmla="*/ 98194 w 575"/>
                      <a:gd name="T79" fmla="*/ 191506 h 559"/>
                      <a:gd name="T80" fmla="*/ 19639 w 575"/>
                      <a:gd name="T81" fmla="*/ 244782 h 559"/>
                      <a:gd name="T82" fmla="*/ 0 w 575"/>
                      <a:gd name="T83" fmla="*/ 262061 h 559"/>
                      <a:gd name="T84" fmla="*/ 0 w 575"/>
                      <a:gd name="T85" fmla="*/ 313897 h 559"/>
                      <a:gd name="T86" fmla="*/ 39278 w 575"/>
                      <a:gd name="T87" fmla="*/ 419010 h 559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</a:gdLst>
                    <a:ahLst/>
                    <a:cxnLst>
                      <a:cxn ang="T88">
                        <a:pos x="T0" y="T1"/>
                      </a:cxn>
                      <a:cxn ang="T89">
                        <a:pos x="T2" y="T3"/>
                      </a:cxn>
                      <a:cxn ang="T90">
                        <a:pos x="T4" y="T5"/>
                      </a:cxn>
                      <a:cxn ang="T91">
                        <a:pos x="T6" y="T7"/>
                      </a:cxn>
                      <a:cxn ang="T92">
                        <a:pos x="T8" y="T9"/>
                      </a:cxn>
                      <a:cxn ang="T93">
                        <a:pos x="T10" y="T11"/>
                      </a:cxn>
                      <a:cxn ang="T94">
                        <a:pos x="T12" y="T13"/>
                      </a:cxn>
                      <a:cxn ang="T95">
                        <a:pos x="T14" y="T15"/>
                      </a:cxn>
                      <a:cxn ang="T96">
                        <a:pos x="T16" y="T17"/>
                      </a:cxn>
                      <a:cxn ang="T97">
                        <a:pos x="T18" y="T19"/>
                      </a:cxn>
                      <a:cxn ang="T98">
                        <a:pos x="T20" y="T21"/>
                      </a:cxn>
                      <a:cxn ang="T99">
                        <a:pos x="T22" y="T23"/>
                      </a:cxn>
                      <a:cxn ang="T100">
                        <a:pos x="T24" y="T25"/>
                      </a:cxn>
                      <a:cxn ang="T101">
                        <a:pos x="T26" y="T27"/>
                      </a:cxn>
                      <a:cxn ang="T102">
                        <a:pos x="T28" y="T29"/>
                      </a:cxn>
                      <a:cxn ang="T103">
                        <a:pos x="T30" y="T31"/>
                      </a:cxn>
                      <a:cxn ang="T104">
                        <a:pos x="T32" y="T33"/>
                      </a:cxn>
                      <a:cxn ang="T105">
                        <a:pos x="T34" y="T35"/>
                      </a:cxn>
                      <a:cxn ang="T106">
                        <a:pos x="T36" y="T37"/>
                      </a:cxn>
                      <a:cxn ang="T107">
                        <a:pos x="T38" y="T39"/>
                      </a:cxn>
                      <a:cxn ang="T108">
                        <a:pos x="T40" y="T41"/>
                      </a:cxn>
                      <a:cxn ang="T109">
                        <a:pos x="T42" y="T43"/>
                      </a:cxn>
                      <a:cxn ang="T110">
                        <a:pos x="T44" y="T45"/>
                      </a:cxn>
                      <a:cxn ang="T111">
                        <a:pos x="T46" y="T47"/>
                      </a:cxn>
                      <a:cxn ang="T112">
                        <a:pos x="T48" y="T49"/>
                      </a:cxn>
                      <a:cxn ang="T113">
                        <a:pos x="T50" y="T51"/>
                      </a:cxn>
                      <a:cxn ang="T114">
                        <a:pos x="T52" y="T53"/>
                      </a:cxn>
                      <a:cxn ang="T115">
                        <a:pos x="T54" y="T55"/>
                      </a:cxn>
                      <a:cxn ang="T116">
                        <a:pos x="T56" y="T57"/>
                      </a:cxn>
                      <a:cxn ang="T117">
                        <a:pos x="T58" y="T59"/>
                      </a:cxn>
                      <a:cxn ang="T118">
                        <a:pos x="T60" y="T61"/>
                      </a:cxn>
                      <a:cxn ang="T119">
                        <a:pos x="T62" y="T63"/>
                      </a:cxn>
                      <a:cxn ang="T120">
                        <a:pos x="T64" y="T65"/>
                      </a:cxn>
                      <a:cxn ang="T121">
                        <a:pos x="T66" y="T67"/>
                      </a:cxn>
                      <a:cxn ang="T122">
                        <a:pos x="T68" y="T69"/>
                      </a:cxn>
                      <a:cxn ang="T123">
                        <a:pos x="T70" y="T71"/>
                      </a:cxn>
                      <a:cxn ang="T124">
                        <a:pos x="T72" y="T73"/>
                      </a:cxn>
                      <a:cxn ang="T125">
                        <a:pos x="T74" y="T75"/>
                      </a:cxn>
                      <a:cxn ang="T126">
                        <a:pos x="T76" y="T77"/>
                      </a:cxn>
                      <a:cxn ang="T127">
                        <a:pos x="T78" y="T79"/>
                      </a:cxn>
                      <a:cxn ang="T128">
                        <a:pos x="T80" y="T81"/>
                      </a:cxn>
                      <a:cxn ang="T129">
                        <a:pos x="T82" y="T83"/>
                      </a:cxn>
                      <a:cxn ang="T130">
                        <a:pos x="T84" y="T85"/>
                      </a:cxn>
                      <a:cxn ang="T131">
                        <a:pos x="T86" y="T87"/>
                      </a:cxn>
                    </a:cxnLst>
                    <a:rect l="0" t="0" r="r" b="b"/>
                    <a:pathLst>
                      <a:path w="575" h="559">
                        <a:moveTo>
                          <a:pt x="26" y="291"/>
                        </a:moveTo>
                        <a:lnTo>
                          <a:pt x="78" y="267"/>
                        </a:lnTo>
                        <a:lnTo>
                          <a:pt x="91" y="255"/>
                        </a:lnTo>
                        <a:lnTo>
                          <a:pt x="130" y="279"/>
                        </a:lnTo>
                        <a:lnTo>
                          <a:pt x="143" y="339"/>
                        </a:lnTo>
                        <a:lnTo>
                          <a:pt x="196" y="364"/>
                        </a:lnTo>
                        <a:lnTo>
                          <a:pt x="196" y="424"/>
                        </a:lnTo>
                        <a:lnTo>
                          <a:pt x="222" y="461"/>
                        </a:lnTo>
                        <a:lnTo>
                          <a:pt x="352" y="448"/>
                        </a:lnTo>
                        <a:lnTo>
                          <a:pt x="352" y="461"/>
                        </a:lnTo>
                        <a:lnTo>
                          <a:pt x="378" y="485"/>
                        </a:lnTo>
                        <a:lnTo>
                          <a:pt x="430" y="497"/>
                        </a:lnTo>
                        <a:lnTo>
                          <a:pt x="495" y="533"/>
                        </a:lnTo>
                        <a:lnTo>
                          <a:pt x="508" y="558"/>
                        </a:lnTo>
                        <a:lnTo>
                          <a:pt x="508" y="533"/>
                        </a:lnTo>
                        <a:lnTo>
                          <a:pt x="535" y="533"/>
                        </a:lnTo>
                        <a:lnTo>
                          <a:pt x="535" y="485"/>
                        </a:lnTo>
                        <a:lnTo>
                          <a:pt x="535" y="448"/>
                        </a:lnTo>
                        <a:lnTo>
                          <a:pt x="561" y="400"/>
                        </a:lnTo>
                        <a:lnTo>
                          <a:pt x="574" y="339"/>
                        </a:lnTo>
                        <a:lnTo>
                          <a:pt x="548" y="279"/>
                        </a:lnTo>
                        <a:lnTo>
                          <a:pt x="495" y="206"/>
                        </a:lnTo>
                        <a:lnTo>
                          <a:pt x="469" y="182"/>
                        </a:lnTo>
                        <a:lnTo>
                          <a:pt x="456" y="158"/>
                        </a:lnTo>
                        <a:lnTo>
                          <a:pt x="456" y="97"/>
                        </a:lnTo>
                        <a:lnTo>
                          <a:pt x="430" y="73"/>
                        </a:lnTo>
                        <a:lnTo>
                          <a:pt x="404" y="85"/>
                        </a:lnTo>
                        <a:lnTo>
                          <a:pt x="404" y="49"/>
                        </a:lnTo>
                        <a:lnTo>
                          <a:pt x="378" y="36"/>
                        </a:lnTo>
                        <a:lnTo>
                          <a:pt x="352" y="36"/>
                        </a:lnTo>
                        <a:lnTo>
                          <a:pt x="312" y="12"/>
                        </a:lnTo>
                        <a:lnTo>
                          <a:pt x="286" y="0"/>
                        </a:lnTo>
                        <a:lnTo>
                          <a:pt x="261" y="0"/>
                        </a:lnTo>
                        <a:lnTo>
                          <a:pt x="222" y="12"/>
                        </a:lnTo>
                        <a:lnTo>
                          <a:pt x="170" y="36"/>
                        </a:lnTo>
                        <a:lnTo>
                          <a:pt x="170" y="61"/>
                        </a:lnTo>
                        <a:lnTo>
                          <a:pt x="143" y="61"/>
                        </a:lnTo>
                        <a:lnTo>
                          <a:pt x="104" y="97"/>
                        </a:lnTo>
                        <a:lnTo>
                          <a:pt x="91" y="109"/>
                        </a:lnTo>
                        <a:lnTo>
                          <a:pt x="65" y="133"/>
                        </a:lnTo>
                        <a:lnTo>
                          <a:pt x="13" y="170"/>
                        </a:lnTo>
                        <a:lnTo>
                          <a:pt x="0" y="182"/>
                        </a:lnTo>
                        <a:lnTo>
                          <a:pt x="0" y="218"/>
                        </a:lnTo>
                        <a:lnTo>
                          <a:pt x="26" y="291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60" name="Freeform 56">
                    <a:extLst>
                      <a:ext uri="{FF2B5EF4-FFF2-40B4-BE49-F238E27FC236}">
                        <a16:creationId xmlns:a16="http://schemas.microsoft.com/office/drawing/2014/main" id="{CA706B3D-704A-44CB-A057-9E9B35C9836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261495" y="3405336"/>
                    <a:ext cx="300037" cy="246063"/>
                  </a:xfrm>
                  <a:custGeom>
                    <a:avLst/>
                    <a:gdLst>
                      <a:gd name="T0" fmla="*/ 78944 w 197"/>
                      <a:gd name="T1" fmla="*/ 17243 h 171"/>
                      <a:gd name="T2" fmla="*/ 39472 w 197"/>
                      <a:gd name="T3" fmla="*/ 51728 h 171"/>
                      <a:gd name="T4" fmla="*/ 0 w 197"/>
                      <a:gd name="T5" fmla="*/ 86213 h 171"/>
                      <a:gd name="T6" fmla="*/ 19736 w 197"/>
                      <a:gd name="T7" fmla="*/ 156620 h 171"/>
                      <a:gd name="T8" fmla="*/ 39472 w 197"/>
                      <a:gd name="T9" fmla="*/ 191105 h 171"/>
                      <a:gd name="T10" fmla="*/ 138152 w 197"/>
                      <a:gd name="T11" fmla="*/ 208348 h 171"/>
                      <a:gd name="T12" fmla="*/ 177624 w 197"/>
                      <a:gd name="T13" fmla="*/ 244270 h 171"/>
                      <a:gd name="T14" fmla="*/ 218614 w 197"/>
                      <a:gd name="T15" fmla="*/ 225591 h 171"/>
                      <a:gd name="T16" fmla="*/ 258086 w 197"/>
                      <a:gd name="T17" fmla="*/ 173863 h 171"/>
                      <a:gd name="T18" fmla="*/ 297558 w 197"/>
                      <a:gd name="T19" fmla="*/ 139378 h 171"/>
                      <a:gd name="T20" fmla="*/ 297558 w 197"/>
                      <a:gd name="T21" fmla="*/ 122135 h 171"/>
                      <a:gd name="T22" fmla="*/ 297558 w 197"/>
                      <a:gd name="T23" fmla="*/ 86213 h 171"/>
                      <a:gd name="T24" fmla="*/ 258086 w 197"/>
                      <a:gd name="T25" fmla="*/ 51728 h 171"/>
                      <a:gd name="T26" fmla="*/ 258086 w 197"/>
                      <a:gd name="T27" fmla="*/ 17243 h 171"/>
                      <a:gd name="T28" fmla="*/ 218614 w 197"/>
                      <a:gd name="T29" fmla="*/ 17243 h 171"/>
                      <a:gd name="T30" fmla="*/ 177624 w 197"/>
                      <a:gd name="T31" fmla="*/ 0 h 171"/>
                      <a:gd name="T32" fmla="*/ 138152 w 197"/>
                      <a:gd name="T33" fmla="*/ 0 h 171"/>
                      <a:gd name="T34" fmla="*/ 78944 w 197"/>
                      <a:gd name="T35" fmla="*/ 17243 h 171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0" t="0" r="r" b="b"/>
                    <a:pathLst>
                      <a:path w="197" h="171">
                        <a:moveTo>
                          <a:pt x="52" y="12"/>
                        </a:moveTo>
                        <a:lnTo>
                          <a:pt x="26" y="36"/>
                        </a:lnTo>
                        <a:lnTo>
                          <a:pt x="0" y="60"/>
                        </a:lnTo>
                        <a:lnTo>
                          <a:pt x="13" y="109"/>
                        </a:lnTo>
                        <a:lnTo>
                          <a:pt x="26" y="133"/>
                        </a:lnTo>
                        <a:lnTo>
                          <a:pt x="91" y="145"/>
                        </a:lnTo>
                        <a:lnTo>
                          <a:pt x="117" y="170"/>
                        </a:lnTo>
                        <a:lnTo>
                          <a:pt x="144" y="157"/>
                        </a:lnTo>
                        <a:lnTo>
                          <a:pt x="170" y="121"/>
                        </a:lnTo>
                        <a:lnTo>
                          <a:pt x="196" y="97"/>
                        </a:lnTo>
                        <a:lnTo>
                          <a:pt x="196" y="85"/>
                        </a:lnTo>
                        <a:lnTo>
                          <a:pt x="196" y="60"/>
                        </a:lnTo>
                        <a:lnTo>
                          <a:pt x="170" y="36"/>
                        </a:lnTo>
                        <a:lnTo>
                          <a:pt x="170" y="12"/>
                        </a:lnTo>
                        <a:lnTo>
                          <a:pt x="144" y="12"/>
                        </a:lnTo>
                        <a:lnTo>
                          <a:pt x="117" y="0"/>
                        </a:lnTo>
                        <a:lnTo>
                          <a:pt x="91" y="0"/>
                        </a:lnTo>
                        <a:lnTo>
                          <a:pt x="52" y="12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round/>
                        <a:headEnd type="none" w="sm" len="sm"/>
                        <a:tailEnd type="stealth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61" name="Freeform 58">
                    <a:extLst>
                      <a:ext uri="{FF2B5EF4-FFF2-40B4-BE49-F238E27FC236}">
                        <a16:creationId xmlns:a16="http://schemas.microsoft.com/office/drawing/2014/main" id="{8DABB69D-D520-4452-9F10-A5930F41040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905895" y="3022749"/>
                    <a:ext cx="871537" cy="315912"/>
                  </a:xfrm>
                  <a:custGeom>
                    <a:avLst/>
                    <a:gdLst>
                      <a:gd name="T0" fmla="*/ 0 w 577"/>
                      <a:gd name="T1" fmla="*/ 139789 h 219"/>
                      <a:gd name="T2" fmla="*/ 19620 w 577"/>
                      <a:gd name="T3" fmla="*/ 210404 h 219"/>
                      <a:gd name="T4" fmla="*/ 60370 w 577"/>
                      <a:gd name="T5" fmla="*/ 279578 h 219"/>
                      <a:gd name="T6" fmla="*/ 79990 w 577"/>
                      <a:gd name="T7" fmla="*/ 314165 h 219"/>
                      <a:gd name="T8" fmla="*/ 138851 w 577"/>
                      <a:gd name="T9" fmla="*/ 314165 h 219"/>
                      <a:gd name="T10" fmla="*/ 197712 w 577"/>
                      <a:gd name="T11" fmla="*/ 296871 h 219"/>
                      <a:gd name="T12" fmla="*/ 256573 w 577"/>
                      <a:gd name="T13" fmla="*/ 244991 h 219"/>
                      <a:gd name="T14" fmla="*/ 336563 w 577"/>
                      <a:gd name="T15" fmla="*/ 227697 h 219"/>
                      <a:gd name="T16" fmla="*/ 356184 w 577"/>
                      <a:gd name="T17" fmla="*/ 262284 h 219"/>
                      <a:gd name="T18" fmla="*/ 395424 w 577"/>
                      <a:gd name="T19" fmla="*/ 314165 h 219"/>
                      <a:gd name="T20" fmla="*/ 454285 w 577"/>
                      <a:gd name="T21" fmla="*/ 296871 h 219"/>
                      <a:gd name="T22" fmla="*/ 513146 w 577"/>
                      <a:gd name="T23" fmla="*/ 314165 h 219"/>
                      <a:gd name="T24" fmla="*/ 553896 w 577"/>
                      <a:gd name="T25" fmla="*/ 296871 h 219"/>
                      <a:gd name="T26" fmla="*/ 632377 w 577"/>
                      <a:gd name="T27" fmla="*/ 279578 h 219"/>
                      <a:gd name="T28" fmla="*/ 671618 w 577"/>
                      <a:gd name="T29" fmla="*/ 279578 h 219"/>
                      <a:gd name="T30" fmla="*/ 710858 w 577"/>
                      <a:gd name="T31" fmla="*/ 279578 h 219"/>
                      <a:gd name="T32" fmla="*/ 750099 w 577"/>
                      <a:gd name="T33" fmla="*/ 296871 h 219"/>
                      <a:gd name="T34" fmla="*/ 789339 w 577"/>
                      <a:gd name="T35" fmla="*/ 296871 h 219"/>
                      <a:gd name="T36" fmla="*/ 830089 w 577"/>
                      <a:gd name="T37" fmla="*/ 262284 h 219"/>
                      <a:gd name="T38" fmla="*/ 830089 w 577"/>
                      <a:gd name="T39" fmla="*/ 210404 h 219"/>
                      <a:gd name="T40" fmla="*/ 869330 w 577"/>
                      <a:gd name="T41" fmla="*/ 157082 h 219"/>
                      <a:gd name="T42" fmla="*/ 869330 w 577"/>
                      <a:gd name="T43" fmla="*/ 122495 h 219"/>
                      <a:gd name="T44" fmla="*/ 869330 w 577"/>
                      <a:gd name="T45" fmla="*/ 105202 h 219"/>
                      <a:gd name="T46" fmla="*/ 849709 w 577"/>
                      <a:gd name="T47" fmla="*/ 53322 h 219"/>
                      <a:gd name="T48" fmla="*/ 789339 w 577"/>
                      <a:gd name="T49" fmla="*/ 87909 h 219"/>
                      <a:gd name="T50" fmla="*/ 750099 w 577"/>
                      <a:gd name="T51" fmla="*/ 70615 h 219"/>
                      <a:gd name="T52" fmla="*/ 691238 w 577"/>
                      <a:gd name="T53" fmla="*/ 53322 h 219"/>
                      <a:gd name="T54" fmla="*/ 651997 w 577"/>
                      <a:gd name="T55" fmla="*/ 70615 h 219"/>
                      <a:gd name="T56" fmla="*/ 612757 w 577"/>
                      <a:gd name="T57" fmla="*/ 53322 h 219"/>
                      <a:gd name="T58" fmla="*/ 593136 w 577"/>
                      <a:gd name="T59" fmla="*/ 87909 h 219"/>
                      <a:gd name="T60" fmla="*/ 573516 w 577"/>
                      <a:gd name="T61" fmla="*/ 105202 h 219"/>
                      <a:gd name="T62" fmla="*/ 553896 w 577"/>
                      <a:gd name="T63" fmla="*/ 122495 h 219"/>
                      <a:gd name="T64" fmla="*/ 513146 w 577"/>
                      <a:gd name="T65" fmla="*/ 122495 h 219"/>
                      <a:gd name="T66" fmla="*/ 473905 w 577"/>
                      <a:gd name="T67" fmla="*/ 105202 h 219"/>
                      <a:gd name="T68" fmla="*/ 434665 w 577"/>
                      <a:gd name="T69" fmla="*/ 53322 h 219"/>
                      <a:gd name="T70" fmla="*/ 415045 w 577"/>
                      <a:gd name="T71" fmla="*/ 34587 h 219"/>
                      <a:gd name="T72" fmla="*/ 356184 w 577"/>
                      <a:gd name="T73" fmla="*/ 17293 h 219"/>
                      <a:gd name="T74" fmla="*/ 316943 w 577"/>
                      <a:gd name="T75" fmla="*/ 0 h 219"/>
                      <a:gd name="T76" fmla="*/ 297323 w 577"/>
                      <a:gd name="T77" fmla="*/ 0 h 219"/>
                      <a:gd name="T78" fmla="*/ 276193 w 577"/>
                      <a:gd name="T79" fmla="*/ 0 h 219"/>
                      <a:gd name="T80" fmla="*/ 178092 w 577"/>
                      <a:gd name="T81" fmla="*/ 53322 h 219"/>
                      <a:gd name="T82" fmla="*/ 138851 w 577"/>
                      <a:gd name="T83" fmla="*/ 34587 h 219"/>
                      <a:gd name="T84" fmla="*/ 119231 w 577"/>
                      <a:gd name="T85" fmla="*/ 34587 h 219"/>
                      <a:gd name="T86" fmla="*/ 79990 w 577"/>
                      <a:gd name="T87" fmla="*/ 53322 h 219"/>
                      <a:gd name="T88" fmla="*/ 0 w 577"/>
                      <a:gd name="T89" fmla="*/ 139789 h 219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</a:gdLst>
                    <a:ahLst/>
                    <a:cxnLst>
                      <a:cxn ang="T90">
                        <a:pos x="T0" y="T1"/>
                      </a:cxn>
                      <a:cxn ang="T91">
                        <a:pos x="T2" y="T3"/>
                      </a:cxn>
                      <a:cxn ang="T92">
                        <a:pos x="T4" y="T5"/>
                      </a:cxn>
                      <a:cxn ang="T93">
                        <a:pos x="T6" y="T7"/>
                      </a:cxn>
                      <a:cxn ang="T94">
                        <a:pos x="T8" y="T9"/>
                      </a:cxn>
                      <a:cxn ang="T95">
                        <a:pos x="T10" y="T11"/>
                      </a:cxn>
                      <a:cxn ang="T96">
                        <a:pos x="T12" y="T13"/>
                      </a:cxn>
                      <a:cxn ang="T97">
                        <a:pos x="T14" y="T15"/>
                      </a:cxn>
                      <a:cxn ang="T98">
                        <a:pos x="T16" y="T17"/>
                      </a:cxn>
                      <a:cxn ang="T99">
                        <a:pos x="T18" y="T19"/>
                      </a:cxn>
                      <a:cxn ang="T100">
                        <a:pos x="T20" y="T21"/>
                      </a:cxn>
                      <a:cxn ang="T101">
                        <a:pos x="T22" y="T23"/>
                      </a:cxn>
                      <a:cxn ang="T102">
                        <a:pos x="T24" y="T25"/>
                      </a:cxn>
                      <a:cxn ang="T103">
                        <a:pos x="T26" y="T27"/>
                      </a:cxn>
                      <a:cxn ang="T104">
                        <a:pos x="T28" y="T29"/>
                      </a:cxn>
                      <a:cxn ang="T105">
                        <a:pos x="T30" y="T31"/>
                      </a:cxn>
                      <a:cxn ang="T106">
                        <a:pos x="T32" y="T33"/>
                      </a:cxn>
                      <a:cxn ang="T107">
                        <a:pos x="T34" y="T35"/>
                      </a:cxn>
                      <a:cxn ang="T108">
                        <a:pos x="T36" y="T37"/>
                      </a:cxn>
                      <a:cxn ang="T109">
                        <a:pos x="T38" y="T39"/>
                      </a:cxn>
                      <a:cxn ang="T110">
                        <a:pos x="T40" y="T41"/>
                      </a:cxn>
                      <a:cxn ang="T111">
                        <a:pos x="T42" y="T43"/>
                      </a:cxn>
                      <a:cxn ang="T112">
                        <a:pos x="T44" y="T45"/>
                      </a:cxn>
                      <a:cxn ang="T113">
                        <a:pos x="T46" y="T47"/>
                      </a:cxn>
                      <a:cxn ang="T114">
                        <a:pos x="T48" y="T49"/>
                      </a:cxn>
                      <a:cxn ang="T115">
                        <a:pos x="T50" y="T51"/>
                      </a:cxn>
                      <a:cxn ang="T116">
                        <a:pos x="T52" y="T53"/>
                      </a:cxn>
                      <a:cxn ang="T117">
                        <a:pos x="T54" y="T55"/>
                      </a:cxn>
                      <a:cxn ang="T118">
                        <a:pos x="T56" y="T57"/>
                      </a:cxn>
                      <a:cxn ang="T119">
                        <a:pos x="T58" y="T59"/>
                      </a:cxn>
                      <a:cxn ang="T120">
                        <a:pos x="T60" y="T61"/>
                      </a:cxn>
                      <a:cxn ang="T121">
                        <a:pos x="T62" y="T63"/>
                      </a:cxn>
                      <a:cxn ang="T122">
                        <a:pos x="T64" y="T65"/>
                      </a:cxn>
                      <a:cxn ang="T123">
                        <a:pos x="T66" y="T67"/>
                      </a:cxn>
                      <a:cxn ang="T124">
                        <a:pos x="T68" y="T69"/>
                      </a:cxn>
                      <a:cxn ang="T125">
                        <a:pos x="T70" y="T71"/>
                      </a:cxn>
                      <a:cxn ang="T126">
                        <a:pos x="T72" y="T73"/>
                      </a:cxn>
                      <a:cxn ang="T127">
                        <a:pos x="T74" y="T75"/>
                      </a:cxn>
                      <a:cxn ang="T128">
                        <a:pos x="T76" y="T77"/>
                      </a:cxn>
                      <a:cxn ang="T129">
                        <a:pos x="T78" y="T79"/>
                      </a:cxn>
                      <a:cxn ang="T130">
                        <a:pos x="T80" y="T81"/>
                      </a:cxn>
                      <a:cxn ang="T131">
                        <a:pos x="T82" y="T83"/>
                      </a:cxn>
                      <a:cxn ang="T132">
                        <a:pos x="T84" y="T85"/>
                      </a:cxn>
                      <a:cxn ang="T133">
                        <a:pos x="T86" y="T87"/>
                      </a:cxn>
                      <a:cxn ang="T134">
                        <a:pos x="T88" y="T89"/>
                      </a:cxn>
                    </a:cxnLst>
                    <a:rect l="0" t="0" r="r" b="b"/>
                    <a:pathLst>
                      <a:path w="577" h="219">
                        <a:moveTo>
                          <a:pt x="0" y="97"/>
                        </a:moveTo>
                        <a:lnTo>
                          <a:pt x="13" y="146"/>
                        </a:lnTo>
                        <a:lnTo>
                          <a:pt x="40" y="194"/>
                        </a:lnTo>
                        <a:lnTo>
                          <a:pt x="53" y="218"/>
                        </a:lnTo>
                        <a:lnTo>
                          <a:pt x="92" y="218"/>
                        </a:lnTo>
                        <a:lnTo>
                          <a:pt x="131" y="206"/>
                        </a:lnTo>
                        <a:lnTo>
                          <a:pt x="170" y="170"/>
                        </a:lnTo>
                        <a:lnTo>
                          <a:pt x="223" y="158"/>
                        </a:lnTo>
                        <a:lnTo>
                          <a:pt x="236" y="182"/>
                        </a:lnTo>
                        <a:lnTo>
                          <a:pt x="262" y="218"/>
                        </a:lnTo>
                        <a:lnTo>
                          <a:pt x="301" y="206"/>
                        </a:lnTo>
                        <a:lnTo>
                          <a:pt x="340" y="218"/>
                        </a:lnTo>
                        <a:lnTo>
                          <a:pt x="367" y="206"/>
                        </a:lnTo>
                        <a:lnTo>
                          <a:pt x="419" y="194"/>
                        </a:lnTo>
                        <a:lnTo>
                          <a:pt x="445" y="194"/>
                        </a:lnTo>
                        <a:lnTo>
                          <a:pt x="471" y="194"/>
                        </a:lnTo>
                        <a:lnTo>
                          <a:pt x="497" y="206"/>
                        </a:lnTo>
                        <a:lnTo>
                          <a:pt x="523" y="206"/>
                        </a:lnTo>
                        <a:lnTo>
                          <a:pt x="550" y="182"/>
                        </a:lnTo>
                        <a:lnTo>
                          <a:pt x="550" y="146"/>
                        </a:lnTo>
                        <a:lnTo>
                          <a:pt x="576" y="109"/>
                        </a:lnTo>
                        <a:lnTo>
                          <a:pt x="576" y="85"/>
                        </a:lnTo>
                        <a:lnTo>
                          <a:pt x="576" y="73"/>
                        </a:lnTo>
                        <a:lnTo>
                          <a:pt x="563" y="37"/>
                        </a:lnTo>
                        <a:lnTo>
                          <a:pt x="523" y="61"/>
                        </a:lnTo>
                        <a:lnTo>
                          <a:pt x="497" y="49"/>
                        </a:lnTo>
                        <a:lnTo>
                          <a:pt x="458" y="37"/>
                        </a:lnTo>
                        <a:lnTo>
                          <a:pt x="432" y="49"/>
                        </a:lnTo>
                        <a:lnTo>
                          <a:pt x="406" y="37"/>
                        </a:lnTo>
                        <a:lnTo>
                          <a:pt x="393" y="61"/>
                        </a:lnTo>
                        <a:lnTo>
                          <a:pt x="380" y="73"/>
                        </a:lnTo>
                        <a:lnTo>
                          <a:pt x="367" y="85"/>
                        </a:lnTo>
                        <a:lnTo>
                          <a:pt x="340" y="85"/>
                        </a:lnTo>
                        <a:lnTo>
                          <a:pt x="314" y="73"/>
                        </a:lnTo>
                        <a:lnTo>
                          <a:pt x="288" y="37"/>
                        </a:lnTo>
                        <a:lnTo>
                          <a:pt x="275" y="24"/>
                        </a:lnTo>
                        <a:lnTo>
                          <a:pt x="236" y="12"/>
                        </a:lnTo>
                        <a:lnTo>
                          <a:pt x="210" y="0"/>
                        </a:lnTo>
                        <a:lnTo>
                          <a:pt x="197" y="0"/>
                        </a:lnTo>
                        <a:lnTo>
                          <a:pt x="183" y="0"/>
                        </a:lnTo>
                        <a:lnTo>
                          <a:pt x="118" y="37"/>
                        </a:lnTo>
                        <a:lnTo>
                          <a:pt x="92" y="24"/>
                        </a:lnTo>
                        <a:lnTo>
                          <a:pt x="79" y="24"/>
                        </a:lnTo>
                        <a:lnTo>
                          <a:pt x="53" y="37"/>
                        </a:lnTo>
                        <a:lnTo>
                          <a:pt x="0" y="97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round/>
                        <a:headEnd type="none" w="sm" len="sm"/>
                        <a:tailEnd type="stealth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62" name="Freeform 57">
                    <a:extLst>
                      <a:ext uri="{FF2B5EF4-FFF2-40B4-BE49-F238E27FC236}">
                        <a16:creationId xmlns:a16="http://schemas.microsoft.com/office/drawing/2014/main" id="{8BEE9067-62FA-4D98-AE15-C88F66692A0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220220" y="3340249"/>
                    <a:ext cx="298450" cy="246062"/>
                  </a:xfrm>
                  <a:custGeom>
                    <a:avLst/>
                    <a:gdLst>
                      <a:gd name="T0" fmla="*/ 78944 w 197"/>
                      <a:gd name="T1" fmla="*/ 17243 h 171"/>
                      <a:gd name="T2" fmla="*/ 39472 w 197"/>
                      <a:gd name="T3" fmla="*/ 51728 h 171"/>
                      <a:gd name="T4" fmla="*/ 0 w 197"/>
                      <a:gd name="T5" fmla="*/ 86213 h 171"/>
                      <a:gd name="T6" fmla="*/ 19736 w 197"/>
                      <a:gd name="T7" fmla="*/ 156620 h 171"/>
                      <a:gd name="T8" fmla="*/ 39472 w 197"/>
                      <a:gd name="T9" fmla="*/ 191105 h 171"/>
                      <a:gd name="T10" fmla="*/ 138152 w 197"/>
                      <a:gd name="T11" fmla="*/ 208348 h 171"/>
                      <a:gd name="T12" fmla="*/ 177624 w 197"/>
                      <a:gd name="T13" fmla="*/ 244270 h 171"/>
                      <a:gd name="T14" fmla="*/ 218614 w 197"/>
                      <a:gd name="T15" fmla="*/ 225591 h 171"/>
                      <a:gd name="T16" fmla="*/ 258086 w 197"/>
                      <a:gd name="T17" fmla="*/ 173863 h 171"/>
                      <a:gd name="T18" fmla="*/ 297558 w 197"/>
                      <a:gd name="T19" fmla="*/ 139378 h 171"/>
                      <a:gd name="T20" fmla="*/ 297558 w 197"/>
                      <a:gd name="T21" fmla="*/ 122135 h 171"/>
                      <a:gd name="T22" fmla="*/ 297558 w 197"/>
                      <a:gd name="T23" fmla="*/ 86213 h 171"/>
                      <a:gd name="T24" fmla="*/ 258086 w 197"/>
                      <a:gd name="T25" fmla="*/ 51728 h 171"/>
                      <a:gd name="T26" fmla="*/ 258086 w 197"/>
                      <a:gd name="T27" fmla="*/ 17243 h 171"/>
                      <a:gd name="T28" fmla="*/ 218614 w 197"/>
                      <a:gd name="T29" fmla="*/ 17243 h 171"/>
                      <a:gd name="T30" fmla="*/ 177624 w 197"/>
                      <a:gd name="T31" fmla="*/ 0 h 171"/>
                      <a:gd name="T32" fmla="*/ 138152 w 197"/>
                      <a:gd name="T33" fmla="*/ 0 h 171"/>
                      <a:gd name="T34" fmla="*/ 78944 w 197"/>
                      <a:gd name="T35" fmla="*/ 17243 h 171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0" t="0" r="r" b="b"/>
                    <a:pathLst>
                      <a:path w="197" h="171">
                        <a:moveTo>
                          <a:pt x="52" y="12"/>
                        </a:moveTo>
                        <a:lnTo>
                          <a:pt x="26" y="36"/>
                        </a:lnTo>
                        <a:lnTo>
                          <a:pt x="0" y="60"/>
                        </a:lnTo>
                        <a:lnTo>
                          <a:pt x="13" y="109"/>
                        </a:lnTo>
                        <a:lnTo>
                          <a:pt x="26" y="133"/>
                        </a:lnTo>
                        <a:lnTo>
                          <a:pt x="91" y="145"/>
                        </a:lnTo>
                        <a:lnTo>
                          <a:pt x="117" y="170"/>
                        </a:lnTo>
                        <a:lnTo>
                          <a:pt x="144" y="157"/>
                        </a:lnTo>
                        <a:lnTo>
                          <a:pt x="170" y="121"/>
                        </a:lnTo>
                        <a:lnTo>
                          <a:pt x="196" y="97"/>
                        </a:lnTo>
                        <a:lnTo>
                          <a:pt x="196" y="85"/>
                        </a:lnTo>
                        <a:lnTo>
                          <a:pt x="196" y="60"/>
                        </a:lnTo>
                        <a:lnTo>
                          <a:pt x="170" y="36"/>
                        </a:lnTo>
                        <a:lnTo>
                          <a:pt x="170" y="12"/>
                        </a:lnTo>
                        <a:lnTo>
                          <a:pt x="144" y="12"/>
                        </a:lnTo>
                        <a:lnTo>
                          <a:pt x="117" y="0"/>
                        </a:lnTo>
                        <a:lnTo>
                          <a:pt x="91" y="0"/>
                        </a:lnTo>
                        <a:lnTo>
                          <a:pt x="52" y="12"/>
                        </a:lnTo>
                      </a:path>
                    </a:pathLst>
                  </a:custGeom>
                  <a:gradFill rotWithShape="1">
                    <a:gsLst>
                      <a:gs pos="0">
                        <a:srgbClr val="004D00"/>
                      </a:gs>
                      <a:gs pos="50000">
                        <a:srgbClr val="007300"/>
                      </a:gs>
                      <a:gs pos="100000">
                        <a:srgbClr val="008A00"/>
                      </a:gs>
                    </a:gsLst>
                    <a:lin ang="13500000" scaled="1"/>
                  </a:gra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63" name="Freeform 59">
                    <a:extLst>
                      <a:ext uri="{FF2B5EF4-FFF2-40B4-BE49-F238E27FC236}">
                        <a16:creationId xmlns:a16="http://schemas.microsoft.com/office/drawing/2014/main" id="{3B92E7E1-2E20-4928-A79C-6545D5FAF14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905895" y="3022749"/>
                    <a:ext cx="871537" cy="315912"/>
                  </a:xfrm>
                  <a:custGeom>
                    <a:avLst/>
                    <a:gdLst>
                      <a:gd name="T0" fmla="*/ 0 w 577"/>
                      <a:gd name="T1" fmla="*/ 139789 h 219"/>
                      <a:gd name="T2" fmla="*/ 19620 w 577"/>
                      <a:gd name="T3" fmla="*/ 210404 h 219"/>
                      <a:gd name="T4" fmla="*/ 60370 w 577"/>
                      <a:gd name="T5" fmla="*/ 279578 h 219"/>
                      <a:gd name="T6" fmla="*/ 79990 w 577"/>
                      <a:gd name="T7" fmla="*/ 314165 h 219"/>
                      <a:gd name="T8" fmla="*/ 138851 w 577"/>
                      <a:gd name="T9" fmla="*/ 314165 h 219"/>
                      <a:gd name="T10" fmla="*/ 197712 w 577"/>
                      <a:gd name="T11" fmla="*/ 296871 h 219"/>
                      <a:gd name="T12" fmla="*/ 256573 w 577"/>
                      <a:gd name="T13" fmla="*/ 244991 h 219"/>
                      <a:gd name="T14" fmla="*/ 336563 w 577"/>
                      <a:gd name="T15" fmla="*/ 227697 h 219"/>
                      <a:gd name="T16" fmla="*/ 356184 w 577"/>
                      <a:gd name="T17" fmla="*/ 262284 h 219"/>
                      <a:gd name="T18" fmla="*/ 395424 w 577"/>
                      <a:gd name="T19" fmla="*/ 314165 h 219"/>
                      <a:gd name="T20" fmla="*/ 454285 w 577"/>
                      <a:gd name="T21" fmla="*/ 296871 h 219"/>
                      <a:gd name="T22" fmla="*/ 513146 w 577"/>
                      <a:gd name="T23" fmla="*/ 314165 h 219"/>
                      <a:gd name="T24" fmla="*/ 553896 w 577"/>
                      <a:gd name="T25" fmla="*/ 296871 h 219"/>
                      <a:gd name="T26" fmla="*/ 632377 w 577"/>
                      <a:gd name="T27" fmla="*/ 279578 h 219"/>
                      <a:gd name="T28" fmla="*/ 671618 w 577"/>
                      <a:gd name="T29" fmla="*/ 279578 h 219"/>
                      <a:gd name="T30" fmla="*/ 710858 w 577"/>
                      <a:gd name="T31" fmla="*/ 279578 h 219"/>
                      <a:gd name="T32" fmla="*/ 750099 w 577"/>
                      <a:gd name="T33" fmla="*/ 296871 h 219"/>
                      <a:gd name="T34" fmla="*/ 789339 w 577"/>
                      <a:gd name="T35" fmla="*/ 296871 h 219"/>
                      <a:gd name="T36" fmla="*/ 830089 w 577"/>
                      <a:gd name="T37" fmla="*/ 262284 h 219"/>
                      <a:gd name="T38" fmla="*/ 830089 w 577"/>
                      <a:gd name="T39" fmla="*/ 210404 h 219"/>
                      <a:gd name="T40" fmla="*/ 869330 w 577"/>
                      <a:gd name="T41" fmla="*/ 157082 h 219"/>
                      <a:gd name="T42" fmla="*/ 869330 w 577"/>
                      <a:gd name="T43" fmla="*/ 122495 h 219"/>
                      <a:gd name="T44" fmla="*/ 869330 w 577"/>
                      <a:gd name="T45" fmla="*/ 105202 h 219"/>
                      <a:gd name="T46" fmla="*/ 849709 w 577"/>
                      <a:gd name="T47" fmla="*/ 53322 h 219"/>
                      <a:gd name="T48" fmla="*/ 789339 w 577"/>
                      <a:gd name="T49" fmla="*/ 87909 h 219"/>
                      <a:gd name="T50" fmla="*/ 750099 w 577"/>
                      <a:gd name="T51" fmla="*/ 70615 h 219"/>
                      <a:gd name="T52" fmla="*/ 691238 w 577"/>
                      <a:gd name="T53" fmla="*/ 53322 h 219"/>
                      <a:gd name="T54" fmla="*/ 651997 w 577"/>
                      <a:gd name="T55" fmla="*/ 70615 h 219"/>
                      <a:gd name="T56" fmla="*/ 612757 w 577"/>
                      <a:gd name="T57" fmla="*/ 53322 h 219"/>
                      <a:gd name="T58" fmla="*/ 593136 w 577"/>
                      <a:gd name="T59" fmla="*/ 87909 h 219"/>
                      <a:gd name="T60" fmla="*/ 573516 w 577"/>
                      <a:gd name="T61" fmla="*/ 105202 h 219"/>
                      <a:gd name="T62" fmla="*/ 553896 w 577"/>
                      <a:gd name="T63" fmla="*/ 122495 h 219"/>
                      <a:gd name="T64" fmla="*/ 513146 w 577"/>
                      <a:gd name="T65" fmla="*/ 122495 h 219"/>
                      <a:gd name="T66" fmla="*/ 473905 w 577"/>
                      <a:gd name="T67" fmla="*/ 105202 h 219"/>
                      <a:gd name="T68" fmla="*/ 434665 w 577"/>
                      <a:gd name="T69" fmla="*/ 53322 h 219"/>
                      <a:gd name="T70" fmla="*/ 415045 w 577"/>
                      <a:gd name="T71" fmla="*/ 34587 h 219"/>
                      <a:gd name="T72" fmla="*/ 356184 w 577"/>
                      <a:gd name="T73" fmla="*/ 17293 h 219"/>
                      <a:gd name="T74" fmla="*/ 316943 w 577"/>
                      <a:gd name="T75" fmla="*/ 0 h 219"/>
                      <a:gd name="T76" fmla="*/ 297323 w 577"/>
                      <a:gd name="T77" fmla="*/ 0 h 219"/>
                      <a:gd name="T78" fmla="*/ 276193 w 577"/>
                      <a:gd name="T79" fmla="*/ 0 h 219"/>
                      <a:gd name="T80" fmla="*/ 178092 w 577"/>
                      <a:gd name="T81" fmla="*/ 53322 h 219"/>
                      <a:gd name="T82" fmla="*/ 138851 w 577"/>
                      <a:gd name="T83" fmla="*/ 34587 h 219"/>
                      <a:gd name="T84" fmla="*/ 119231 w 577"/>
                      <a:gd name="T85" fmla="*/ 34587 h 219"/>
                      <a:gd name="T86" fmla="*/ 79990 w 577"/>
                      <a:gd name="T87" fmla="*/ 53322 h 219"/>
                      <a:gd name="T88" fmla="*/ 0 w 577"/>
                      <a:gd name="T89" fmla="*/ 139789 h 219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</a:gdLst>
                    <a:ahLst/>
                    <a:cxnLst>
                      <a:cxn ang="T90">
                        <a:pos x="T0" y="T1"/>
                      </a:cxn>
                      <a:cxn ang="T91">
                        <a:pos x="T2" y="T3"/>
                      </a:cxn>
                      <a:cxn ang="T92">
                        <a:pos x="T4" y="T5"/>
                      </a:cxn>
                      <a:cxn ang="T93">
                        <a:pos x="T6" y="T7"/>
                      </a:cxn>
                      <a:cxn ang="T94">
                        <a:pos x="T8" y="T9"/>
                      </a:cxn>
                      <a:cxn ang="T95">
                        <a:pos x="T10" y="T11"/>
                      </a:cxn>
                      <a:cxn ang="T96">
                        <a:pos x="T12" y="T13"/>
                      </a:cxn>
                      <a:cxn ang="T97">
                        <a:pos x="T14" y="T15"/>
                      </a:cxn>
                      <a:cxn ang="T98">
                        <a:pos x="T16" y="T17"/>
                      </a:cxn>
                      <a:cxn ang="T99">
                        <a:pos x="T18" y="T19"/>
                      </a:cxn>
                      <a:cxn ang="T100">
                        <a:pos x="T20" y="T21"/>
                      </a:cxn>
                      <a:cxn ang="T101">
                        <a:pos x="T22" y="T23"/>
                      </a:cxn>
                      <a:cxn ang="T102">
                        <a:pos x="T24" y="T25"/>
                      </a:cxn>
                      <a:cxn ang="T103">
                        <a:pos x="T26" y="T27"/>
                      </a:cxn>
                      <a:cxn ang="T104">
                        <a:pos x="T28" y="T29"/>
                      </a:cxn>
                      <a:cxn ang="T105">
                        <a:pos x="T30" y="T31"/>
                      </a:cxn>
                      <a:cxn ang="T106">
                        <a:pos x="T32" y="T33"/>
                      </a:cxn>
                      <a:cxn ang="T107">
                        <a:pos x="T34" y="T35"/>
                      </a:cxn>
                      <a:cxn ang="T108">
                        <a:pos x="T36" y="T37"/>
                      </a:cxn>
                      <a:cxn ang="T109">
                        <a:pos x="T38" y="T39"/>
                      </a:cxn>
                      <a:cxn ang="T110">
                        <a:pos x="T40" y="T41"/>
                      </a:cxn>
                      <a:cxn ang="T111">
                        <a:pos x="T42" y="T43"/>
                      </a:cxn>
                      <a:cxn ang="T112">
                        <a:pos x="T44" y="T45"/>
                      </a:cxn>
                      <a:cxn ang="T113">
                        <a:pos x="T46" y="T47"/>
                      </a:cxn>
                      <a:cxn ang="T114">
                        <a:pos x="T48" y="T49"/>
                      </a:cxn>
                      <a:cxn ang="T115">
                        <a:pos x="T50" y="T51"/>
                      </a:cxn>
                      <a:cxn ang="T116">
                        <a:pos x="T52" y="T53"/>
                      </a:cxn>
                      <a:cxn ang="T117">
                        <a:pos x="T54" y="T55"/>
                      </a:cxn>
                      <a:cxn ang="T118">
                        <a:pos x="T56" y="T57"/>
                      </a:cxn>
                      <a:cxn ang="T119">
                        <a:pos x="T58" y="T59"/>
                      </a:cxn>
                      <a:cxn ang="T120">
                        <a:pos x="T60" y="T61"/>
                      </a:cxn>
                      <a:cxn ang="T121">
                        <a:pos x="T62" y="T63"/>
                      </a:cxn>
                      <a:cxn ang="T122">
                        <a:pos x="T64" y="T65"/>
                      </a:cxn>
                      <a:cxn ang="T123">
                        <a:pos x="T66" y="T67"/>
                      </a:cxn>
                      <a:cxn ang="T124">
                        <a:pos x="T68" y="T69"/>
                      </a:cxn>
                      <a:cxn ang="T125">
                        <a:pos x="T70" y="T71"/>
                      </a:cxn>
                      <a:cxn ang="T126">
                        <a:pos x="T72" y="T73"/>
                      </a:cxn>
                      <a:cxn ang="T127">
                        <a:pos x="T74" y="T75"/>
                      </a:cxn>
                      <a:cxn ang="T128">
                        <a:pos x="T76" y="T77"/>
                      </a:cxn>
                      <a:cxn ang="T129">
                        <a:pos x="T78" y="T79"/>
                      </a:cxn>
                      <a:cxn ang="T130">
                        <a:pos x="T80" y="T81"/>
                      </a:cxn>
                      <a:cxn ang="T131">
                        <a:pos x="T82" y="T83"/>
                      </a:cxn>
                      <a:cxn ang="T132">
                        <a:pos x="T84" y="T85"/>
                      </a:cxn>
                      <a:cxn ang="T133">
                        <a:pos x="T86" y="T87"/>
                      </a:cxn>
                      <a:cxn ang="T134">
                        <a:pos x="T88" y="T89"/>
                      </a:cxn>
                    </a:cxnLst>
                    <a:rect l="0" t="0" r="r" b="b"/>
                    <a:pathLst>
                      <a:path w="577" h="219">
                        <a:moveTo>
                          <a:pt x="0" y="97"/>
                        </a:moveTo>
                        <a:lnTo>
                          <a:pt x="13" y="146"/>
                        </a:lnTo>
                        <a:lnTo>
                          <a:pt x="40" y="194"/>
                        </a:lnTo>
                        <a:lnTo>
                          <a:pt x="53" y="218"/>
                        </a:lnTo>
                        <a:lnTo>
                          <a:pt x="92" y="218"/>
                        </a:lnTo>
                        <a:lnTo>
                          <a:pt x="131" y="206"/>
                        </a:lnTo>
                        <a:lnTo>
                          <a:pt x="170" y="170"/>
                        </a:lnTo>
                        <a:lnTo>
                          <a:pt x="223" y="158"/>
                        </a:lnTo>
                        <a:lnTo>
                          <a:pt x="236" y="182"/>
                        </a:lnTo>
                        <a:lnTo>
                          <a:pt x="262" y="218"/>
                        </a:lnTo>
                        <a:lnTo>
                          <a:pt x="301" y="206"/>
                        </a:lnTo>
                        <a:lnTo>
                          <a:pt x="340" y="218"/>
                        </a:lnTo>
                        <a:lnTo>
                          <a:pt x="367" y="206"/>
                        </a:lnTo>
                        <a:lnTo>
                          <a:pt x="419" y="194"/>
                        </a:lnTo>
                        <a:lnTo>
                          <a:pt x="445" y="194"/>
                        </a:lnTo>
                        <a:lnTo>
                          <a:pt x="471" y="194"/>
                        </a:lnTo>
                        <a:lnTo>
                          <a:pt x="497" y="206"/>
                        </a:lnTo>
                        <a:lnTo>
                          <a:pt x="523" y="206"/>
                        </a:lnTo>
                        <a:lnTo>
                          <a:pt x="550" y="182"/>
                        </a:lnTo>
                        <a:lnTo>
                          <a:pt x="550" y="146"/>
                        </a:lnTo>
                        <a:lnTo>
                          <a:pt x="576" y="109"/>
                        </a:lnTo>
                        <a:lnTo>
                          <a:pt x="576" y="85"/>
                        </a:lnTo>
                        <a:lnTo>
                          <a:pt x="576" y="73"/>
                        </a:lnTo>
                        <a:lnTo>
                          <a:pt x="563" y="37"/>
                        </a:lnTo>
                        <a:lnTo>
                          <a:pt x="523" y="61"/>
                        </a:lnTo>
                        <a:lnTo>
                          <a:pt x="497" y="49"/>
                        </a:lnTo>
                        <a:lnTo>
                          <a:pt x="458" y="37"/>
                        </a:lnTo>
                        <a:lnTo>
                          <a:pt x="432" y="49"/>
                        </a:lnTo>
                        <a:lnTo>
                          <a:pt x="406" y="37"/>
                        </a:lnTo>
                        <a:lnTo>
                          <a:pt x="393" y="61"/>
                        </a:lnTo>
                        <a:lnTo>
                          <a:pt x="380" y="73"/>
                        </a:lnTo>
                        <a:lnTo>
                          <a:pt x="367" y="85"/>
                        </a:lnTo>
                        <a:lnTo>
                          <a:pt x="340" y="85"/>
                        </a:lnTo>
                        <a:lnTo>
                          <a:pt x="314" y="73"/>
                        </a:lnTo>
                        <a:lnTo>
                          <a:pt x="288" y="37"/>
                        </a:lnTo>
                        <a:lnTo>
                          <a:pt x="275" y="24"/>
                        </a:lnTo>
                        <a:lnTo>
                          <a:pt x="236" y="12"/>
                        </a:lnTo>
                        <a:lnTo>
                          <a:pt x="210" y="0"/>
                        </a:lnTo>
                        <a:lnTo>
                          <a:pt x="197" y="0"/>
                        </a:lnTo>
                        <a:lnTo>
                          <a:pt x="183" y="0"/>
                        </a:lnTo>
                        <a:lnTo>
                          <a:pt x="118" y="37"/>
                        </a:lnTo>
                        <a:lnTo>
                          <a:pt x="92" y="24"/>
                        </a:lnTo>
                        <a:lnTo>
                          <a:pt x="79" y="24"/>
                        </a:lnTo>
                        <a:lnTo>
                          <a:pt x="53" y="37"/>
                        </a:lnTo>
                        <a:lnTo>
                          <a:pt x="0" y="97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64" name="Freeform 60">
                    <a:extLst>
                      <a:ext uri="{FF2B5EF4-FFF2-40B4-BE49-F238E27FC236}">
                        <a16:creationId xmlns:a16="http://schemas.microsoft.com/office/drawing/2014/main" id="{CDFE4384-B0E0-40AC-9502-9095C8DBE29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104332" y="2916386"/>
                    <a:ext cx="674688" cy="263525"/>
                  </a:xfrm>
                  <a:custGeom>
                    <a:avLst/>
                    <a:gdLst>
                      <a:gd name="T0" fmla="*/ 514665 w 446"/>
                      <a:gd name="T1" fmla="*/ 53105 h 183"/>
                      <a:gd name="T2" fmla="*/ 475309 w 446"/>
                      <a:gd name="T3" fmla="*/ 53105 h 183"/>
                      <a:gd name="T4" fmla="*/ 376917 w 446"/>
                      <a:gd name="T5" fmla="*/ 35881 h 183"/>
                      <a:gd name="T6" fmla="*/ 296690 w 446"/>
                      <a:gd name="T7" fmla="*/ 35881 h 183"/>
                      <a:gd name="T8" fmla="*/ 257333 w 446"/>
                      <a:gd name="T9" fmla="*/ 35881 h 183"/>
                      <a:gd name="T10" fmla="*/ 217976 w 446"/>
                      <a:gd name="T11" fmla="*/ 0 h 183"/>
                      <a:gd name="T12" fmla="*/ 158941 w 446"/>
                      <a:gd name="T13" fmla="*/ 0 h 183"/>
                      <a:gd name="T14" fmla="*/ 158941 w 446"/>
                      <a:gd name="T15" fmla="*/ 17223 h 183"/>
                      <a:gd name="T16" fmla="*/ 119584 w 446"/>
                      <a:gd name="T17" fmla="*/ 17223 h 183"/>
                      <a:gd name="T18" fmla="*/ 99906 w 446"/>
                      <a:gd name="T19" fmla="*/ 35881 h 183"/>
                      <a:gd name="T20" fmla="*/ 60549 w 446"/>
                      <a:gd name="T21" fmla="*/ 70328 h 183"/>
                      <a:gd name="T22" fmla="*/ 39357 w 446"/>
                      <a:gd name="T23" fmla="*/ 104774 h 183"/>
                      <a:gd name="T24" fmla="*/ 0 w 446"/>
                      <a:gd name="T25" fmla="*/ 121997 h 183"/>
                      <a:gd name="T26" fmla="*/ 39357 w 446"/>
                      <a:gd name="T27" fmla="*/ 139220 h 183"/>
                      <a:gd name="T28" fmla="*/ 80227 w 446"/>
                      <a:gd name="T29" fmla="*/ 139220 h 183"/>
                      <a:gd name="T30" fmla="*/ 158941 w 446"/>
                      <a:gd name="T31" fmla="*/ 156443 h 183"/>
                      <a:gd name="T32" fmla="*/ 198298 w 446"/>
                      <a:gd name="T33" fmla="*/ 192324 h 183"/>
                      <a:gd name="T34" fmla="*/ 257333 w 446"/>
                      <a:gd name="T35" fmla="*/ 243994 h 183"/>
                      <a:gd name="T36" fmla="*/ 296690 w 446"/>
                      <a:gd name="T37" fmla="*/ 261217 h 183"/>
                      <a:gd name="T38" fmla="*/ 357238 w 446"/>
                      <a:gd name="T39" fmla="*/ 226771 h 183"/>
                      <a:gd name="T40" fmla="*/ 376917 w 446"/>
                      <a:gd name="T41" fmla="*/ 209547 h 183"/>
                      <a:gd name="T42" fmla="*/ 435952 w 446"/>
                      <a:gd name="T43" fmla="*/ 209547 h 183"/>
                      <a:gd name="T44" fmla="*/ 534344 w 446"/>
                      <a:gd name="T45" fmla="*/ 209547 h 183"/>
                      <a:gd name="T46" fmla="*/ 594893 w 446"/>
                      <a:gd name="T47" fmla="*/ 192324 h 183"/>
                      <a:gd name="T48" fmla="*/ 634250 w 446"/>
                      <a:gd name="T49" fmla="*/ 209547 h 183"/>
                      <a:gd name="T50" fmla="*/ 673606 w 446"/>
                      <a:gd name="T51" fmla="*/ 175101 h 183"/>
                      <a:gd name="T52" fmla="*/ 673606 w 446"/>
                      <a:gd name="T53" fmla="*/ 139220 h 183"/>
                      <a:gd name="T54" fmla="*/ 653928 w 446"/>
                      <a:gd name="T55" fmla="*/ 87551 h 183"/>
                      <a:gd name="T56" fmla="*/ 634250 w 446"/>
                      <a:gd name="T57" fmla="*/ 53105 h 183"/>
                      <a:gd name="T58" fmla="*/ 514665 w 446"/>
                      <a:gd name="T59" fmla="*/ 53105 h 183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0" t="0" r="r" b="b"/>
                    <a:pathLst>
                      <a:path w="446" h="183">
                        <a:moveTo>
                          <a:pt x="340" y="37"/>
                        </a:moveTo>
                        <a:lnTo>
                          <a:pt x="314" y="37"/>
                        </a:lnTo>
                        <a:lnTo>
                          <a:pt x="249" y="25"/>
                        </a:lnTo>
                        <a:lnTo>
                          <a:pt x="196" y="25"/>
                        </a:lnTo>
                        <a:lnTo>
                          <a:pt x="170" y="25"/>
                        </a:lnTo>
                        <a:lnTo>
                          <a:pt x="144" y="0"/>
                        </a:lnTo>
                        <a:lnTo>
                          <a:pt x="105" y="0"/>
                        </a:lnTo>
                        <a:lnTo>
                          <a:pt x="105" y="12"/>
                        </a:lnTo>
                        <a:lnTo>
                          <a:pt x="79" y="12"/>
                        </a:lnTo>
                        <a:lnTo>
                          <a:pt x="66" y="25"/>
                        </a:lnTo>
                        <a:lnTo>
                          <a:pt x="40" y="49"/>
                        </a:lnTo>
                        <a:lnTo>
                          <a:pt x="26" y="73"/>
                        </a:lnTo>
                        <a:lnTo>
                          <a:pt x="0" y="85"/>
                        </a:lnTo>
                        <a:lnTo>
                          <a:pt x="26" y="97"/>
                        </a:lnTo>
                        <a:lnTo>
                          <a:pt x="53" y="97"/>
                        </a:lnTo>
                        <a:lnTo>
                          <a:pt x="105" y="109"/>
                        </a:lnTo>
                        <a:lnTo>
                          <a:pt x="131" y="134"/>
                        </a:lnTo>
                        <a:lnTo>
                          <a:pt x="170" y="170"/>
                        </a:lnTo>
                        <a:lnTo>
                          <a:pt x="196" y="182"/>
                        </a:lnTo>
                        <a:lnTo>
                          <a:pt x="236" y="158"/>
                        </a:lnTo>
                        <a:lnTo>
                          <a:pt x="249" y="146"/>
                        </a:lnTo>
                        <a:lnTo>
                          <a:pt x="288" y="146"/>
                        </a:lnTo>
                        <a:lnTo>
                          <a:pt x="353" y="146"/>
                        </a:lnTo>
                        <a:lnTo>
                          <a:pt x="393" y="134"/>
                        </a:lnTo>
                        <a:lnTo>
                          <a:pt x="419" y="146"/>
                        </a:lnTo>
                        <a:lnTo>
                          <a:pt x="445" y="122"/>
                        </a:lnTo>
                        <a:lnTo>
                          <a:pt x="445" y="97"/>
                        </a:lnTo>
                        <a:lnTo>
                          <a:pt x="432" y="61"/>
                        </a:lnTo>
                        <a:lnTo>
                          <a:pt x="419" y="37"/>
                        </a:lnTo>
                        <a:lnTo>
                          <a:pt x="340" y="37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round/>
                        <a:headEnd type="none" w="sm" len="sm"/>
                        <a:tailEnd type="stealth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65" name="Freeform 61">
                    <a:extLst>
                      <a:ext uri="{FF2B5EF4-FFF2-40B4-BE49-F238E27FC236}">
                        <a16:creationId xmlns:a16="http://schemas.microsoft.com/office/drawing/2014/main" id="{C6D9F8AA-71CD-4C07-A5B1-8A98528D277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104332" y="2916386"/>
                    <a:ext cx="674688" cy="263525"/>
                  </a:xfrm>
                  <a:custGeom>
                    <a:avLst/>
                    <a:gdLst>
                      <a:gd name="T0" fmla="*/ 514665 w 446"/>
                      <a:gd name="T1" fmla="*/ 53105 h 183"/>
                      <a:gd name="T2" fmla="*/ 475309 w 446"/>
                      <a:gd name="T3" fmla="*/ 53105 h 183"/>
                      <a:gd name="T4" fmla="*/ 376917 w 446"/>
                      <a:gd name="T5" fmla="*/ 35881 h 183"/>
                      <a:gd name="T6" fmla="*/ 296690 w 446"/>
                      <a:gd name="T7" fmla="*/ 35881 h 183"/>
                      <a:gd name="T8" fmla="*/ 257333 w 446"/>
                      <a:gd name="T9" fmla="*/ 35881 h 183"/>
                      <a:gd name="T10" fmla="*/ 217976 w 446"/>
                      <a:gd name="T11" fmla="*/ 0 h 183"/>
                      <a:gd name="T12" fmla="*/ 158941 w 446"/>
                      <a:gd name="T13" fmla="*/ 0 h 183"/>
                      <a:gd name="T14" fmla="*/ 158941 w 446"/>
                      <a:gd name="T15" fmla="*/ 17223 h 183"/>
                      <a:gd name="T16" fmla="*/ 119584 w 446"/>
                      <a:gd name="T17" fmla="*/ 17223 h 183"/>
                      <a:gd name="T18" fmla="*/ 99906 w 446"/>
                      <a:gd name="T19" fmla="*/ 35881 h 183"/>
                      <a:gd name="T20" fmla="*/ 60549 w 446"/>
                      <a:gd name="T21" fmla="*/ 70328 h 183"/>
                      <a:gd name="T22" fmla="*/ 39357 w 446"/>
                      <a:gd name="T23" fmla="*/ 104774 h 183"/>
                      <a:gd name="T24" fmla="*/ 0 w 446"/>
                      <a:gd name="T25" fmla="*/ 121997 h 183"/>
                      <a:gd name="T26" fmla="*/ 39357 w 446"/>
                      <a:gd name="T27" fmla="*/ 139220 h 183"/>
                      <a:gd name="T28" fmla="*/ 80227 w 446"/>
                      <a:gd name="T29" fmla="*/ 139220 h 183"/>
                      <a:gd name="T30" fmla="*/ 158941 w 446"/>
                      <a:gd name="T31" fmla="*/ 156443 h 183"/>
                      <a:gd name="T32" fmla="*/ 198298 w 446"/>
                      <a:gd name="T33" fmla="*/ 192324 h 183"/>
                      <a:gd name="T34" fmla="*/ 257333 w 446"/>
                      <a:gd name="T35" fmla="*/ 243994 h 183"/>
                      <a:gd name="T36" fmla="*/ 296690 w 446"/>
                      <a:gd name="T37" fmla="*/ 261217 h 183"/>
                      <a:gd name="T38" fmla="*/ 357238 w 446"/>
                      <a:gd name="T39" fmla="*/ 226771 h 183"/>
                      <a:gd name="T40" fmla="*/ 376917 w 446"/>
                      <a:gd name="T41" fmla="*/ 209547 h 183"/>
                      <a:gd name="T42" fmla="*/ 435952 w 446"/>
                      <a:gd name="T43" fmla="*/ 209547 h 183"/>
                      <a:gd name="T44" fmla="*/ 534344 w 446"/>
                      <a:gd name="T45" fmla="*/ 209547 h 183"/>
                      <a:gd name="T46" fmla="*/ 594893 w 446"/>
                      <a:gd name="T47" fmla="*/ 192324 h 183"/>
                      <a:gd name="T48" fmla="*/ 634250 w 446"/>
                      <a:gd name="T49" fmla="*/ 209547 h 183"/>
                      <a:gd name="T50" fmla="*/ 673606 w 446"/>
                      <a:gd name="T51" fmla="*/ 175101 h 183"/>
                      <a:gd name="T52" fmla="*/ 673606 w 446"/>
                      <a:gd name="T53" fmla="*/ 139220 h 183"/>
                      <a:gd name="T54" fmla="*/ 653928 w 446"/>
                      <a:gd name="T55" fmla="*/ 87551 h 183"/>
                      <a:gd name="T56" fmla="*/ 634250 w 446"/>
                      <a:gd name="T57" fmla="*/ 53105 h 183"/>
                      <a:gd name="T58" fmla="*/ 514665 w 446"/>
                      <a:gd name="T59" fmla="*/ 53105 h 183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0" t="0" r="r" b="b"/>
                    <a:pathLst>
                      <a:path w="446" h="183">
                        <a:moveTo>
                          <a:pt x="340" y="37"/>
                        </a:moveTo>
                        <a:lnTo>
                          <a:pt x="314" y="37"/>
                        </a:lnTo>
                        <a:lnTo>
                          <a:pt x="249" y="25"/>
                        </a:lnTo>
                        <a:lnTo>
                          <a:pt x="196" y="25"/>
                        </a:lnTo>
                        <a:lnTo>
                          <a:pt x="170" y="25"/>
                        </a:lnTo>
                        <a:lnTo>
                          <a:pt x="144" y="0"/>
                        </a:lnTo>
                        <a:lnTo>
                          <a:pt x="105" y="0"/>
                        </a:lnTo>
                        <a:lnTo>
                          <a:pt x="105" y="12"/>
                        </a:lnTo>
                        <a:lnTo>
                          <a:pt x="79" y="12"/>
                        </a:lnTo>
                        <a:lnTo>
                          <a:pt x="66" y="25"/>
                        </a:lnTo>
                        <a:lnTo>
                          <a:pt x="40" y="49"/>
                        </a:lnTo>
                        <a:lnTo>
                          <a:pt x="26" y="73"/>
                        </a:lnTo>
                        <a:lnTo>
                          <a:pt x="0" y="85"/>
                        </a:lnTo>
                        <a:lnTo>
                          <a:pt x="26" y="97"/>
                        </a:lnTo>
                        <a:lnTo>
                          <a:pt x="53" y="97"/>
                        </a:lnTo>
                        <a:lnTo>
                          <a:pt x="105" y="109"/>
                        </a:lnTo>
                        <a:lnTo>
                          <a:pt x="131" y="134"/>
                        </a:lnTo>
                        <a:lnTo>
                          <a:pt x="170" y="170"/>
                        </a:lnTo>
                        <a:lnTo>
                          <a:pt x="196" y="182"/>
                        </a:lnTo>
                        <a:lnTo>
                          <a:pt x="236" y="158"/>
                        </a:lnTo>
                        <a:lnTo>
                          <a:pt x="249" y="146"/>
                        </a:lnTo>
                        <a:lnTo>
                          <a:pt x="288" y="146"/>
                        </a:lnTo>
                        <a:lnTo>
                          <a:pt x="353" y="146"/>
                        </a:lnTo>
                        <a:lnTo>
                          <a:pt x="393" y="134"/>
                        </a:lnTo>
                        <a:lnTo>
                          <a:pt x="419" y="146"/>
                        </a:lnTo>
                        <a:lnTo>
                          <a:pt x="445" y="122"/>
                        </a:lnTo>
                        <a:lnTo>
                          <a:pt x="445" y="97"/>
                        </a:lnTo>
                        <a:lnTo>
                          <a:pt x="432" y="61"/>
                        </a:lnTo>
                        <a:lnTo>
                          <a:pt x="419" y="37"/>
                        </a:lnTo>
                        <a:lnTo>
                          <a:pt x="340" y="37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66" name="Freeform 62">
                    <a:extLst>
                      <a:ext uri="{FF2B5EF4-FFF2-40B4-BE49-F238E27FC236}">
                        <a16:creationId xmlns:a16="http://schemas.microsoft.com/office/drawing/2014/main" id="{8118E72F-160D-44DF-ABC5-9B11A6F27CC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340870" y="3283099"/>
                    <a:ext cx="377825" cy="247650"/>
                  </a:xfrm>
                  <a:custGeom>
                    <a:avLst/>
                    <a:gdLst>
                      <a:gd name="T0" fmla="*/ 0 w 250"/>
                      <a:gd name="T1" fmla="*/ 34782 h 171"/>
                      <a:gd name="T2" fmla="*/ 0 w 250"/>
                      <a:gd name="T3" fmla="*/ 123188 h 171"/>
                      <a:gd name="T4" fmla="*/ 59006 w 250"/>
                      <a:gd name="T5" fmla="*/ 123188 h 171"/>
                      <a:gd name="T6" fmla="*/ 119525 w 250"/>
                      <a:gd name="T7" fmla="*/ 123188 h 171"/>
                      <a:gd name="T8" fmla="*/ 158862 w 250"/>
                      <a:gd name="T9" fmla="*/ 140579 h 171"/>
                      <a:gd name="T10" fmla="*/ 178531 w 250"/>
                      <a:gd name="T11" fmla="*/ 210144 h 171"/>
                      <a:gd name="T12" fmla="*/ 237537 w 250"/>
                      <a:gd name="T13" fmla="*/ 246376 h 171"/>
                      <a:gd name="T14" fmla="*/ 257205 w 250"/>
                      <a:gd name="T15" fmla="*/ 210144 h 171"/>
                      <a:gd name="T16" fmla="*/ 276874 w 250"/>
                      <a:gd name="T17" fmla="*/ 175362 h 171"/>
                      <a:gd name="T18" fmla="*/ 296543 w 250"/>
                      <a:gd name="T19" fmla="*/ 140579 h 171"/>
                      <a:gd name="T20" fmla="*/ 316211 w 250"/>
                      <a:gd name="T21" fmla="*/ 123188 h 171"/>
                      <a:gd name="T22" fmla="*/ 376730 w 250"/>
                      <a:gd name="T23" fmla="*/ 52174 h 171"/>
                      <a:gd name="T24" fmla="*/ 355548 w 250"/>
                      <a:gd name="T25" fmla="*/ 17391 h 171"/>
                      <a:gd name="T26" fmla="*/ 335880 w 250"/>
                      <a:gd name="T27" fmla="*/ 17391 h 171"/>
                      <a:gd name="T28" fmla="*/ 296543 w 250"/>
                      <a:gd name="T29" fmla="*/ 0 h 171"/>
                      <a:gd name="T30" fmla="*/ 237537 w 250"/>
                      <a:gd name="T31" fmla="*/ 0 h 171"/>
                      <a:gd name="T32" fmla="*/ 198199 w 250"/>
                      <a:gd name="T33" fmla="*/ 0 h 171"/>
                      <a:gd name="T34" fmla="*/ 139193 w 250"/>
                      <a:gd name="T35" fmla="*/ 0 h 171"/>
                      <a:gd name="T36" fmla="*/ 119525 w 250"/>
                      <a:gd name="T37" fmla="*/ 0 h 171"/>
                      <a:gd name="T38" fmla="*/ 98343 w 250"/>
                      <a:gd name="T39" fmla="*/ 17391 h 171"/>
                      <a:gd name="T40" fmla="*/ 78675 w 250"/>
                      <a:gd name="T41" fmla="*/ 17391 h 171"/>
                      <a:gd name="T42" fmla="*/ 0 w 250"/>
                      <a:gd name="T43" fmla="*/ 34782 h 171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0" t="0" r="r" b="b"/>
                    <a:pathLst>
                      <a:path w="250" h="171">
                        <a:moveTo>
                          <a:pt x="0" y="24"/>
                        </a:moveTo>
                        <a:lnTo>
                          <a:pt x="0" y="85"/>
                        </a:lnTo>
                        <a:lnTo>
                          <a:pt x="39" y="85"/>
                        </a:lnTo>
                        <a:lnTo>
                          <a:pt x="79" y="85"/>
                        </a:lnTo>
                        <a:lnTo>
                          <a:pt x="105" y="97"/>
                        </a:lnTo>
                        <a:lnTo>
                          <a:pt x="118" y="145"/>
                        </a:lnTo>
                        <a:lnTo>
                          <a:pt x="157" y="170"/>
                        </a:lnTo>
                        <a:lnTo>
                          <a:pt x="170" y="145"/>
                        </a:lnTo>
                        <a:lnTo>
                          <a:pt x="183" y="121"/>
                        </a:lnTo>
                        <a:lnTo>
                          <a:pt x="196" y="97"/>
                        </a:lnTo>
                        <a:lnTo>
                          <a:pt x="209" y="85"/>
                        </a:lnTo>
                        <a:lnTo>
                          <a:pt x="249" y="36"/>
                        </a:lnTo>
                        <a:lnTo>
                          <a:pt x="235" y="12"/>
                        </a:lnTo>
                        <a:lnTo>
                          <a:pt x="222" y="12"/>
                        </a:lnTo>
                        <a:lnTo>
                          <a:pt x="196" y="0"/>
                        </a:lnTo>
                        <a:lnTo>
                          <a:pt x="157" y="0"/>
                        </a:lnTo>
                        <a:lnTo>
                          <a:pt x="131" y="0"/>
                        </a:lnTo>
                        <a:lnTo>
                          <a:pt x="92" y="0"/>
                        </a:lnTo>
                        <a:lnTo>
                          <a:pt x="79" y="0"/>
                        </a:lnTo>
                        <a:lnTo>
                          <a:pt x="65" y="12"/>
                        </a:lnTo>
                        <a:lnTo>
                          <a:pt x="52" y="12"/>
                        </a:lnTo>
                        <a:lnTo>
                          <a:pt x="0" y="24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round/>
                        <a:headEnd type="none" w="sm" len="sm"/>
                        <a:tailEnd type="stealth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67" name="Freeform 63">
                    <a:extLst>
                      <a:ext uri="{FF2B5EF4-FFF2-40B4-BE49-F238E27FC236}">
                        <a16:creationId xmlns:a16="http://schemas.microsoft.com/office/drawing/2014/main" id="{93EE78DA-8FC0-492F-914B-7D63B2689A7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340870" y="3283099"/>
                    <a:ext cx="377825" cy="247650"/>
                  </a:xfrm>
                  <a:custGeom>
                    <a:avLst/>
                    <a:gdLst>
                      <a:gd name="T0" fmla="*/ 0 w 250"/>
                      <a:gd name="T1" fmla="*/ 34782 h 171"/>
                      <a:gd name="T2" fmla="*/ 0 w 250"/>
                      <a:gd name="T3" fmla="*/ 123188 h 171"/>
                      <a:gd name="T4" fmla="*/ 59006 w 250"/>
                      <a:gd name="T5" fmla="*/ 123188 h 171"/>
                      <a:gd name="T6" fmla="*/ 119525 w 250"/>
                      <a:gd name="T7" fmla="*/ 123188 h 171"/>
                      <a:gd name="T8" fmla="*/ 158862 w 250"/>
                      <a:gd name="T9" fmla="*/ 140579 h 171"/>
                      <a:gd name="T10" fmla="*/ 178531 w 250"/>
                      <a:gd name="T11" fmla="*/ 210144 h 171"/>
                      <a:gd name="T12" fmla="*/ 237537 w 250"/>
                      <a:gd name="T13" fmla="*/ 246376 h 171"/>
                      <a:gd name="T14" fmla="*/ 257205 w 250"/>
                      <a:gd name="T15" fmla="*/ 210144 h 171"/>
                      <a:gd name="T16" fmla="*/ 276874 w 250"/>
                      <a:gd name="T17" fmla="*/ 175362 h 171"/>
                      <a:gd name="T18" fmla="*/ 296543 w 250"/>
                      <a:gd name="T19" fmla="*/ 140579 h 171"/>
                      <a:gd name="T20" fmla="*/ 316211 w 250"/>
                      <a:gd name="T21" fmla="*/ 123188 h 171"/>
                      <a:gd name="T22" fmla="*/ 376730 w 250"/>
                      <a:gd name="T23" fmla="*/ 52174 h 171"/>
                      <a:gd name="T24" fmla="*/ 355548 w 250"/>
                      <a:gd name="T25" fmla="*/ 17391 h 171"/>
                      <a:gd name="T26" fmla="*/ 335880 w 250"/>
                      <a:gd name="T27" fmla="*/ 17391 h 171"/>
                      <a:gd name="T28" fmla="*/ 296543 w 250"/>
                      <a:gd name="T29" fmla="*/ 0 h 171"/>
                      <a:gd name="T30" fmla="*/ 237537 w 250"/>
                      <a:gd name="T31" fmla="*/ 0 h 171"/>
                      <a:gd name="T32" fmla="*/ 198199 w 250"/>
                      <a:gd name="T33" fmla="*/ 0 h 171"/>
                      <a:gd name="T34" fmla="*/ 139193 w 250"/>
                      <a:gd name="T35" fmla="*/ 0 h 171"/>
                      <a:gd name="T36" fmla="*/ 119525 w 250"/>
                      <a:gd name="T37" fmla="*/ 0 h 171"/>
                      <a:gd name="T38" fmla="*/ 98343 w 250"/>
                      <a:gd name="T39" fmla="*/ 17391 h 171"/>
                      <a:gd name="T40" fmla="*/ 78675 w 250"/>
                      <a:gd name="T41" fmla="*/ 17391 h 171"/>
                      <a:gd name="T42" fmla="*/ 0 w 250"/>
                      <a:gd name="T43" fmla="*/ 34782 h 171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0" t="0" r="r" b="b"/>
                    <a:pathLst>
                      <a:path w="250" h="171">
                        <a:moveTo>
                          <a:pt x="0" y="24"/>
                        </a:moveTo>
                        <a:lnTo>
                          <a:pt x="0" y="85"/>
                        </a:lnTo>
                        <a:lnTo>
                          <a:pt x="39" y="85"/>
                        </a:lnTo>
                        <a:lnTo>
                          <a:pt x="79" y="85"/>
                        </a:lnTo>
                        <a:lnTo>
                          <a:pt x="105" y="97"/>
                        </a:lnTo>
                        <a:lnTo>
                          <a:pt x="118" y="145"/>
                        </a:lnTo>
                        <a:lnTo>
                          <a:pt x="157" y="170"/>
                        </a:lnTo>
                        <a:lnTo>
                          <a:pt x="170" y="145"/>
                        </a:lnTo>
                        <a:lnTo>
                          <a:pt x="183" y="121"/>
                        </a:lnTo>
                        <a:lnTo>
                          <a:pt x="196" y="97"/>
                        </a:lnTo>
                        <a:lnTo>
                          <a:pt x="209" y="85"/>
                        </a:lnTo>
                        <a:lnTo>
                          <a:pt x="249" y="36"/>
                        </a:lnTo>
                        <a:lnTo>
                          <a:pt x="235" y="12"/>
                        </a:lnTo>
                        <a:lnTo>
                          <a:pt x="222" y="12"/>
                        </a:lnTo>
                        <a:lnTo>
                          <a:pt x="196" y="0"/>
                        </a:lnTo>
                        <a:lnTo>
                          <a:pt x="157" y="0"/>
                        </a:lnTo>
                        <a:lnTo>
                          <a:pt x="131" y="0"/>
                        </a:lnTo>
                        <a:lnTo>
                          <a:pt x="92" y="0"/>
                        </a:lnTo>
                        <a:lnTo>
                          <a:pt x="79" y="0"/>
                        </a:lnTo>
                        <a:lnTo>
                          <a:pt x="65" y="12"/>
                        </a:lnTo>
                        <a:lnTo>
                          <a:pt x="52" y="12"/>
                        </a:lnTo>
                        <a:lnTo>
                          <a:pt x="0" y="24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68" name="Freeform 64">
                    <a:extLst>
                      <a:ext uri="{FF2B5EF4-FFF2-40B4-BE49-F238E27FC236}">
                        <a16:creationId xmlns:a16="http://schemas.microsoft.com/office/drawing/2014/main" id="{A5E07964-1C04-4439-A9D8-B69A551F756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13757" y="2498874"/>
                    <a:ext cx="673100" cy="976312"/>
                  </a:xfrm>
                  <a:custGeom>
                    <a:avLst/>
                    <a:gdLst>
                      <a:gd name="T0" fmla="*/ 138809 w 446"/>
                      <a:gd name="T1" fmla="*/ 975035 h 679"/>
                      <a:gd name="T2" fmla="*/ 295723 w 446"/>
                      <a:gd name="T3" fmla="*/ 906006 h 679"/>
                      <a:gd name="T4" fmla="*/ 354566 w 446"/>
                      <a:gd name="T5" fmla="*/ 818281 h 679"/>
                      <a:gd name="T6" fmla="*/ 434532 w 446"/>
                      <a:gd name="T7" fmla="*/ 714738 h 679"/>
                      <a:gd name="T8" fmla="*/ 512989 w 446"/>
                      <a:gd name="T9" fmla="*/ 678785 h 679"/>
                      <a:gd name="T10" fmla="*/ 591446 w 446"/>
                      <a:gd name="T11" fmla="*/ 661528 h 679"/>
                      <a:gd name="T12" fmla="*/ 651798 w 446"/>
                      <a:gd name="T13" fmla="*/ 575242 h 679"/>
                      <a:gd name="T14" fmla="*/ 671412 w 446"/>
                      <a:gd name="T15" fmla="*/ 487517 h 679"/>
                      <a:gd name="T16" fmla="*/ 671412 w 446"/>
                      <a:gd name="T17" fmla="*/ 399793 h 679"/>
                      <a:gd name="T18" fmla="*/ 632184 w 446"/>
                      <a:gd name="T19" fmla="*/ 313507 h 679"/>
                      <a:gd name="T20" fmla="*/ 632184 w 446"/>
                      <a:gd name="T21" fmla="*/ 225782 h 679"/>
                      <a:gd name="T22" fmla="*/ 671412 w 446"/>
                      <a:gd name="T23" fmla="*/ 86286 h 679"/>
                      <a:gd name="T24" fmla="*/ 611061 w 446"/>
                      <a:gd name="T25" fmla="*/ 0 h 679"/>
                      <a:gd name="T26" fmla="*/ 552218 w 446"/>
                      <a:gd name="T27" fmla="*/ 0 h 679"/>
                      <a:gd name="T28" fmla="*/ 493375 w 446"/>
                      <a:gd name="T29" fmla="*/ 17257 h 679"/>
                      <a:gd name="T30" fmla="*/ 414918 w 446"/>
                      <a:gd name="T31" fmla="*/ 86286 h 679"/>
                      <a:gd name="T32" fmla="*/ 375689 w 446"/>
                      <a:gd name="T33" fmla="*/ 156753 h 679"/>
                      <a:gd name="T34" fmla="*/ 354566 w 446"/>
                      <a:gd name="T35" fmla="*/ 191268 h 679"/>
                      <a:gd name="T36" fmla="*/ 334952 w 446"/>
                      <a:gd name="T37" fmla="*/ 243040 h 679"/>
                      <a:gd name="T38" fmla="*/ 315337 w 446"/>
                      <a:gd name="T39" fmla="*/ 278992 h 679"/>
                      <a:gd name="T40" fmla="*/ 354566 w 446"/>
                      <a:gd name="T41" fmla="*/ 348021 h 679"/>
                      <a:gd name="T42" fmla="*/ 315337 w 446"/>
                      <a:gd name="T43" fmla="*/ 365279 h 679"/>
                      <a:gd name="T44" fmla="*/ 295723 w 446"/>
                      <a:gd name="T45" fmla="*/ 435746 h 679"/>
                      <a:gd name="T46" fmla="*/ 197652 w 446"/>
                      <a:gd name="T47" fmla="*/ 504775 h 679"/>
                      <a:gd name="T48" fmla="*/ 119195 w 446"/>
                      <a:gd name="T49" fmla="*/ 556546 h 679"/>
                      <a:gd name="T50" fmla="*/ 78457 w 446"/>
                      <a:gd name="T51" fmla="*/ 575242 h 679"/>
                      <a:gd name="T52" fmla="*/ 39229 w 446"/>
                      <a:gd name="T53" fmla="*/ 661528 h 679"/>
                      <a:gd name="T54" fmla="*/ 19614 w 446"/>
                      <a:gd name="T55" fmla="*/ 714738 h 679"/>
                      <a:gd name="T56" fmla="*/ 0 w 446"/>
                      <a:gd name="T57" fmla="*/ 766510 h 679"/>
                      <a:gd name="T58" fmla="*/ 19614 w 446"/>
                      <a:gd name="T59" fmla="*/ 835539 h 679"/>
                      <a:gd name="T60" fmla="*/ 39229 w 446"/>
                      <a:gd name="T61" fmla="*/ 835539 h 679"/>
                      <a:gd name="T62" fmla="*/ 39229 w 446"/>
                      <a:gd name="T63" fmla="*/ 906006 h 679"/>
                      <a:gd name="T64" fmla="*/ 138809 w 446"/>
                      <a:gd name="T65" fmla="*/ 975035 h 679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0" t="0" r="r" b="b"/>
                    <a:pathLst>
                      <a:path w="446" h="679">
                        <a:moveTo>
                          <a:pt x="92" y="678"/>
                        </a:moveTo>
                        <a:lnTo>
                          <a:pt x="196" y="630"/>
                        </a:lnTo>
                        <a:lnTo>
                          <a:pt x="235" y="569"/>
                        </a:lnTo>
                        <a:lnTo>
                          <a:pt x="288" y="497"/>
                        </a:lnTo>
                        <a:lnTo>
                          <a:pt x="340" y="472"/>
                        </a:lnTo>
                        <a:lnTo>
                          <a:pt x="392" y="460"/>
                        </a:lnTo>
                        <a:lnTo>
                          <a:pt x="432" y="400"/>
                        </a:lnTo>
                        <a:lnTo>
                          <a:pt x="445" y="339"/>
                        </a:lnTo>
                        <a:lnTo>
                          <a:pt x="445" y="278"/>
                        </a:lnTo>
                        <a:lnTo>
                          <a:pt x="419" y="218"/>
                        </a:lnTo>
                        <a:lnTo>
                          <a:pt x="419" y="157"/>
                        </a:lnTo>
                        <a:lnTo>
                          <a:pt x="445" y="60"/>
                        </a:lnTo>
                        <a:lnTo>
                          <a:pt x="405" y="0"/>
                        </a:lnTo>
                        <a:lnTo>
                          <a:pt x="366" y="0"/>
                        </a:lnTo>
                        <a:lnTo>
                          <a:pt x="327" y="12"/>
                        </a:lnTo>
                        <a:lnTo>
                          <a:pt x="275" y="60"/>
                        </a:lnTo>
                        <a:lnTo>
                          <a:pt x="249" y="109"/>
                        </a:lnTo>
                        <a:lnTo>
                          <a:pt x="235" y="133"/>
                        </a:lnTo>
                        <a:lnTo>
                          <a:pt x="222" y="169"/>
                        </a:lnTo>
                        <a:lnTo>
                          <a:pt x="209" y="194"/>
                        </a:lnTo>
                        <a:lnTo>
                          <a:pt x="235" y="242"/>
                        </a:lnTo>
                        <a:lnTo>
                          <a:pt x="209" y="254"/>
                        </a:lnTo>
                        <a:lnTo>
                          <a:pt x="196" y="303"/>
                        </a:lnTo>
                        <a:lnTo>
                          <a:pt x="131" y="351"/>
                        </a:lnTo>
                        <a:lnTo>
                          <a:pt x="79" y="387"/>
                        </a:lnTo>
                        <a:lnTo>
                          <a:pt x="52" y="400"/>
                        </a:lnTo>
                        <a:lnTo>
                          <a:pt x="26" y="460"/>
                        </a:lnTo>
                        <a:lnTo>
                          <a:pt x="13" y="497"/>
                        </a:lnTo>
                        <a:lnTo>
                          <a:pt x="0" y="533"/>
                        </a:lnTo>
                        <a:lnTo>
                          <a:pt x="13" y="581"/>
                        </a:lnTo>
                        <a:lnTo>
                          <a:pt x="26" y="581"/>
                        </a:lnTo>
                        <a:lnTo>
                          <a:pt x="26" y="630"/>
                        </a:lnTo>
                        <a:lnTo>
                          <a:pt x="92" y="678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round/>
                        <a:headEnd type="none" w="sm" len="sm"/>
                        <a:tailEnd type="stealth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69" name="Freeform 65">
                    <a:extLst>
                      <a:ext uri="{FF2B5EF4-FFF2-40B4-BE49-F238E27FC236}">
                        <a16:creationId xmlns:a16="http://schemas.microsoft.com/office/drawing/2014/main" id="{AFED60C2-6182-408E-B949-41EB6CBCAAA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13757" y="2498874"/>
                    <a:ext cx="673100" cy="976312"/>
                  </a:xfrm>
                  <a:custGeom>
                    <a:avLst/>
                    <a:gdLst>
                      <a:gd name="T0" fmla="*/ 138809 w 446"/>
                      <a:gd name="T1" fmla="*/ 975035 h 679"/>
                      <a:gd name="T2" fmla="*/ 295723 w 446"/>
                      <a:gd name="T3" fmla="*/ 906006 h 679"/>
                      <a:gd name="T4" fmla="*/ 354566 w 446"/>
                      <a:gd name="T5" fmla="*/ 818281 h 679"/>
                      <a:gd name="T6" fmla="*/ 434532 w 446"/>
                      <a:gd name="T7" fmla="*/ 714738 h 679"/>
                      <a:gd name="T8" fmla="*/ 512989 w 446"/>
                      <a:gd name="T9" fmla="*/ 678785 h 679"/>
                      <a:gd name="T10" fmla="*/ 591446 w 446"/>
                      <a:gd name="T11" fmla="*/ 661528 h 679"/>
                      <a:gd name="T12" fmla="*/ 651798 w 446"/>
                      <a:gd name="T13" fmla="*/ 575242 h 679"/>
                      <a:gd name="T14" fmla="*/ 671412 w 446"/>
                      <a:gd name="T15" fmla="*/ 487517 h 679"/>
                      <a:gd name="T16" fmla="*/ 671412 w 446"/>
                      <a:gd name="T17" fmla="*/ 399793 h 679"/>
                      <a:gd name="T18" fmla="*/ 632184 w 446"/>
                      <a:gd name="T19" fmla="*/ 313507 h 679"/>
                      <a:gd name="T20" fmla="*/ 632184 w 446"/>
                      <a:gd name="T21" fmla="*/ 225782 h 679"/>
                      <a:gd name="T22" fmla="*/ 671412 w 446"/>
                      <a:gd name="T23" fmla="*/ 86286 h 679"/>
                      <a:gd name="T24" fmla="*/ 611061 w 446"/>
                      <a:gd name="T25" fmla="*/ 0 h 679"/>
                      <a:gd name="T26" fmla="*/ 552218 w 446"/>
                      <a:gd name="T27" fmla="*/ 0 h 679"/>
                      <a:gd name="T28" fmla="*/ 493375 w 446"/>
                      <a:gd name="T29" fmla="*/ 17257 h 679"/>
                      <a:gd name="T30" fmla="*/ 414918 w 446"/>
                      <a:gd name="T31" fmla="*/ 86286 h 679"/>
                      <a:gd name="T32" fmla="*/ 375689 w 446"/>
                      <a:gd name="T33" fmla="*/ 156753 h 679"/>
                      <a:gd name="T34" fmla="*/ 354566 w 446"/>
                      <a:gd name="T35" fmla="*/ 191268 h 679"/>
                      <a:gd name="T36" fmla="*/ 334952 w 446"/>
                      <a:gd name="T37" fmla="*/ 243040 h 679"/>
                      <a:gd name="T38" fmla="*/ 315337 w 446"/>
                      <a:gd name="T39" fmla="*/ 278992 h 679"/>
                      <a:gd name="T40" fmla="*/ 354566 w 446"/>
                      <a:gd name="T41" fmla="*/ 348021 h 679"/>
                      <a:gd name="T42" fmla="*/ 315337 w 446"/>
                      <a:gd name="T43" fmla="*/ 365279 h 679"/>
                      <a:gd name="T44" fmla="*/ 295723 w 446"/>
                      <a:gd name="T45" fmla="*/ 435746 h 679"/>
                      <a:gd name="T46" fmla="*/ 197652 w 446"/>
                      <a:gd name="T47" fmla="*/ 504775 h 679"/>
                      <a:gd name="T48" fmla="*/ 119195 w 446"/>
                      <a:gd name="T49" fmla="*/ 556546 h 679"/>
                      <a:gd name="T50" fmla="*/ 78457 w 446"/>
                      <a:gd name="T51" fmla="*/ 575242 h 679"/>
                      <a:gd name="T52" fmla="*/ 39229 w 446"/>
                      <a:gd name="T53" fmla="*/ 661528 h 679"/>
                      <a:gd name="T54" fmla="*/ 19614 w 446"/>
                      <a:gd name="T55" fmla="*/ 714738 h 679"/>
                      <a:gd name="T56" fmla="*/ 0 w 446"/>
                      <a:gd name="T57" fmla="*/ 766510 h 679"/>
                      <a:gd name="T58" fmla="*/ 19614 w 446"/>
                      <a:gd name="T59" fmla="*/ 835539 h 679"/>
                      <a:gd name="T60" fmla="*/ 39229 w 446"/>
                      <a:gd name="T61" fmla="*/ 835539 h 679"/>
                      <a:gd name="T62" fmla="*/ 39229 w 446"/>
                      <a:gd name="T63" fmla="*/ 906006 h 679"/>
                      <a:gd name="T64" fmla="*/ 138809 w 446"/>
                      <a:gd name="T65" fmla="*/ 975035 h 679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0" t="0" r="r" b="b"/>
                    <a:pathLst>
                      <a:path w="446" h="679">
                        <a:moveTo>
                          <a:pt x="92" y="678"/>
                        </a:moveTo>
                        <a:lnTo>
                          <a:pt x="196" y="630"/>
                        </a:lnTo>
                        <a:lnTo>
                          <a:pt x="235" y="569"/>
                        </a:lnTo>
                        <a:lnTo>
                          <a:pt x="288" y="497"/>
                        </a:lnTo>
                        <a:lnTo>
                          <a:pt x="340" y="472"/>
                        </a:lnTo>
                        <a:lnTo>
                          <a:pt x="392" y="460"/>
                        </a:lnTo>
                        <a:lnTo>
                          <a:pt x="432" y="400"/>
                        </a:lnTo>
                        <a:lnTo>
                          <a:pt x="445" y="339"/>
                        </a:lnTo>
                        <a:lnTo>
                          <a:pt x="445" y="278"/>
                        </a:lnTo>
                        <a:lnTo>
                          <a:pt x="419" y="218"/>
                        </a:lnTo>
                        <a:lnTo>
                          <a:pt x="419" y="157"/>
                        </a:lnTo>
                        <a:lnTo>
                          <a:pt x="445" y="60"/>
                        </a:lnTo>
                        <a:lnTo>
                          <a:pt x="405" y="0"/>
                        </a:lnTo>
                        <a:lnTo>
                          <a:pt x="366" y="0"/>
                        </a:lnTo>
                        <a:lnTo>
                          <a:pt x="327" y="12"/>
                        </a:lnTo>
                        <a:lnTo>
                          <a:pt x="275" y="60"/>
                        </a:lnTo>
                        <a:lnTo>
                          <a:pt x="249" y="109"/>
                        </a:lnTo>
                        <a:lnTo>
                          <a:pt x="235" y="133"/>
                        </a:lnTo>
                        <a:lnTo>
                          <a:pt x="222" y="169"/>
                        </a:lnTo>
                        <a:lnTo>
                          <a:pt x="209" y="194"/>
                        </a:lnTo>
                        <a:lnTo>
                          <a:pt x="235" y="242"/>
                        </a:lnTo>
                        <a:lnTo>
                          <a:pt x="209" y="254"/>
                        </a:lnTo>
                        <a:lnTo>
                          <a:pt x="196" y="303"/>
                        </a:lnTo>
                        <a:lnTo>
                          <a:pt x="131" y="351"/>
                        </a:lnTo>
                        <a:lnTo>
                          <a:pt x="79" y="387"/>
                        </a:lnTo>
                        <a:lnTo>
                          <a:pt x="52" y="400"/>
                        </a:lnTo>
                        <a:lnTo>
                          <a:pt x="26" y="460"/>
                        </a:lnTo>
                        <a:lnTo>
                          <a:pt x="13" y="497"/>
                        </a:lnTo>
                        <a:lnTo>
                          <a:pt x="0" y="533"/>
                        </a:lnTo>
                        <a:lnTo>
                          <a:pt x="13" y="581"/>
                        </a:lnTo>
                        <a:lnTo>
                          <a:pt x="26" y="581"/>
                        </a:lnTo>
                        <a:lnTo>
                          <a:pt x="26" y="630"/>
                        </a:lnTo>
                        <a:lnTo>
                          <a:pt x="92" y="678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70" name="Freeform 66">
                    <a:extLst>
                      <a:ext uri="{FF2B5EF4-FFF2-40B4-BE49-F238E27FC236}">
                        <a16:creationId xmlns:a16="http://schemas.microsoft.com/office/drawing/2014/main" id="{DC7223B0-2D1C-458E-892F-1E1FD9D201D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600595" y="3283099"/>
                    <a:ext cx="969962" cy="525462"/>
                  </a:xfrm>
                  <a:custGeom>
                    <a:avLst/>
                    <a:gdLst>
                      <a:gd name="T0" fmla="*/ 78551 w 642"/>
                      <a:gd name="T1" fmla="*/ 0 h 365"/>
                      <a:gd name="T2" fmla="*/ 237162 w 642"/>
                      <a:gd name="T3" fmla="*/ 34541 h 365"/>
                      <a:gd name="T4" fmla="*/ 394264 w 642"/>
                      <a:gd name="T5" fmla="*/ 139602 h 365"/>
                      <a:gd name="T6" fmla="*/ 493963 w 642"/>
                      <a:gd name="T7" fmla="*/ 174142 h 365"/>
                      <a:gd name="T8" fmla="*/ 651064 w 642"/>
                      <a:gd name="T9" fmla="*/ 227392 h 365"/>
                      <a:gd name="T10" fmla="*/ 790038 w 642"/>
                      <a:gd name="T11" fmla="*/ 279203 h 365"/>
                      <a:gd name="T12" fmla="*/ 948650 w 642"/>
                      <a:gd name="T13" fmla="*/ 313744 h 365"/>
                      <a:gd name="T14" fmla="*/ 968287 w 642"/>
                      <a:gd name="T15" fmla="*/ 384264 h 365"/>
                      <a:gd name="T16" fmla="*/ 829313 w 642"/>
                      <a:gd name="T17" fmla="*/ 401535 h 365"/>
                      <a:gd name="T18" fmla="*/ 790038 w 642"/>
                      <a:gd name="T19" fmla="*/ 453345 h 365"/>
                      <a:gd name="T20" fmla="*/ 670701 w 642"/>
                      <a:gd name="T21" fmla="*/ 523866 h 365"/>
                      <a:gd name="T22" fmla="*/ 611788 w 642"/>
                      <a:gd name="T23" fmla="*/ 506596 h 365"/>
                      <a:gd name="T24" fmla="*/ 513600 w 642"/>
                      <a:gd name="T25" fmla="*/ 523866 h 365"/>
                      <a:gd name="T26" fmla="*/ 454687 w 642"/>
                      <a:gd name="T27" fmla="*/ 506596 h 365"/>
                      <a:gd name="T28" fmla="*/ 454687 w 642"/>
                      <a:gd name="T29" fmla="*/ 436075 h 365"/>
                      <a:gd name="T30" fmla="*/ 454687 w 642"/>
                      <a:gd name="T31" fmla="*/ 366994 h 365"/>
                      <a:gd name="T32" fmla="*/ 374626 w 642"/>
                      <a:gd name="T33" fmla="*/ 348284 h 365"/>
                      <a:gd name="T34" fmla="*/ 256800 w 642"/>
                      <a:gd name="T35" fmla="*/ 384264 h 365"/>
                      <a:gd name="T36" fmla="*/ 197887 w 642"/>
                      <a:gd name="T37" fmla="*/ 384264 h 365"/>
                      <a:gd name="T38" fmla="*/ 78551 w 642"/>
                      <a:gd name="T39" fmla="*/ 244663 h 365"/>
                      <a:gd name="T40" fmla="*/ 39275 w 642"/>
                      <a:gd name="T41" fmla="*/ 156872 h 365"/>
                      <a:gd name="T42" fmla="*/ 0 w 642"/>
                      <a:gd name="T43" fmla="*/ 105061 h 365"/>
                      <a:gd name="T44" fmla="*/ 58913 w 642"/>
                      <a:gd name="T45" fmla="*/ 70520 h 365"/>
                      <a:gd name="T46" fmla="*/ 78551 w 642"/>
                      <a:gd name="T47" fmla="*/ 0 h 365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0" t="0" r="r" b="b"/>
                    <a:pathLst>
                      <a:path w="642" h="365">
                        <a:moveTo>
                          <a:pt x="52" y="0"/>
                        </a:moveTo>
                        <a:lnTo>
                          <a:pt x="157" y="24"/>
                        </a:lnTo>
                        <a:lnTo>
                          <a:pt x="261" y="97"/>
                        </a:lnTo>
                        <a:lnTo>
                          <a:pt x="327" y="121"/>
                        </a:lnTo>
                        <a:lnTo>
                          <a:pt x="431" y="158"/>
                        </a:lnTo>
                        <a:lnTo>
                          <a:pt x="523" y="194"/>
                        </a:lnTo>
                        <a:lnTo>
                          <a:pt x="628" y="218"/>
                        </a:lnTo>
                        <a:lnTo>
                          <a:pt x="641" y="267"/>
                        </a:lnTo>
                        <a:lnTo>
                          <a:pt x="549" y="279"/>
                        </a:lnTo>
                        <a:lnTo>
                          <a:pt x="523" y="315"/>
                        </a:lnTo>
                        <a:lnTo>
                          <a:pt x="444" y="364"/>
                        </a:lnTo>
                        <a:lnTo>
                          <a:pt x="405" y="352"/>
                        </a:lnTo>
                        <a:lnTo>
                          <a:pt x="340" y="364"/>
                        </a:lnTo>
                        <a:lnTo>
                          <a:pt x="301" y="352"/>
                        </a:lnTo>
                        <a:lnTo>
                          <a:pt x="301" y="303"/>
                        </a:lnTo>
                        <a:lnTo>
                          <a:pt x="301" y="255"/>
                        </a:lnTo>
                        <a:lnTo>
                          <a:pt x="248" y="242"/>
                        </a:lnTo>
                        <a:lnTo>
                          <a:pt x="170" y="267"/>
                        </a:lnTo>
                        <a:lnTo>
                          <a:pt x="131" y="267"/>
                        </a:lnTo>
                        <a:lnTo>
                          <a:pt x="52" y="170"/>
                        </a:lnTo>
                        <a:lnTo>
                          <a:pt x="26" y="109"/>
                        </a:lnTo>
                        <a:lnTo>
                          <a:pt x="0" y="73"/>
                        </a:lnTo>
                        <a:lnTo>
                          <a:pt x="39" y="49"/>
                        </a:lnTo>
                        <a:lnTo>
                          <a:pt x="52" y="0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round/>
                        <a:headEnd type="none" w="sm" len="sm"/>
                        <a:tailEnd type="stealth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71" name="Freeform 67">
                    <a:extLst>
                      <a:ext uri="{FF2B5EF4-FFF2-40B4-BE49-F238E27FC236}">
                        <a16:creationId xmlns:a16="http://schemas.microsoft.com/office/drawing/2014/main" id="{C8442896-6EC4-4093-99D2-9E4031E302A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600595" y="3283099"/>
                    <a:ext cx="969962" cy="525462"/>
                  </a:xfrm>
                  <a:custGeom>
                    <a:avLst/>
                    <a:gdLst>
                      <a:gd name="T0" fmla="*/ 78551 w 642"/>
                      <a:gd name="T1" fmla="*/ 0 h 365"/>
                      <a:gd name="T2" fmla="*/ 237162 w 642"/>
                      <a:gd name="T3" fmla="*/ 34541 h 365"/>
                      <a:gd name="T4" fmla="*/ 394264 w 642"/>
                      <a:gd name="T5" fmla="*/ 139602 h 365"/>
                      <a:gd name="T6" fmla="*/ 493963 w 642"/>
                      <a:gd name="T7" fmla="*/ 174142 h 365"/>
                      <a:gd name="T8" fmla="*/ 651064 w 642"/>
                      <a:gd name="T9" fmla="*/ 227392 h 365"/>
                      <a:gd name="T10" fmla="*/ 790038 w 642"/>
                      <a:gd name="T11" fmla="*/ 279203 h 365"/>
                      <a:gd name="T12" fmla="*/ 948650 w 642"/>
                      <a:gd name="T13" fmla="*/ 313744 h 365"/>
                      <a:gd name="T14" fmla="*/ 968287 w 642"/>
                      <a:gd name="T15" fmla="*/ 384264 h 365"/>
                      <a:gd name="T16" fmla="*/ 829313 w 642"/>
                      <a:gd name="T17" fmla="*/ 401535 h 365"/>
                      <a:gd name="T18" fmla="*/ 790038 w 642"/>
                      <a:gd name="T19" fmla="*/ 453345 h 365"/>
                      <a:gd name="T20" fmla="*/ 670701 w 642"/>
                      <a:gd name="T21" fmla="*/ 523866 h 365"/>
                      <a:gd name="T22" fmla="*/ 611788 w 642"/>
                      <a:gd name="T23" fmla="*/ 506596 h 365"/>
                      <a:gd name="T24" fmla="*/ 513600 w 642"/>
                      <a:gd name="T25" fmla="*/ 523866 h 365"/>
                      <a:gd name="T26" fmla="*/ 454687 w 642"/>
                      <a:gd name="T27" fmla="*/ 506596 h 365"/>
                      <a:gd name="T28" fmla="*/ 454687 w 642"/>
                      <a:gd name="T29" fmla="*/ 436075 h 365"/>
                      <a:gd name="T30" fmla="*/ 454687 w 642"/>
                      <a:gd name="T31" fmla="*/ 366994 h 365"/>
                      <a:gd name="T32" fmla="*/ 374626 w 642"/>
                      <a:gd name="T33" fmla="*/ 348284 h 365"/>
                      <a:gd name="T34" fmla="*/ 256800 w 642"/>
                      <a:gd name="T35" fmla="*/ 384264 h 365"/>
                      <a:gd name="T36" fmla="*/ 197887 w 642"/>
                      <a:gd name="T37" fmla="*/ 384264 h 365"/>
                      <a:gd name="T38" fmla="*/ 78551 w 642"/>
                      <a:gd name="T39" fmla="*/ 244663 h 365"/>
                      <a:gd name="T40" fmla="*/ 39275 w 642"/>
                      <a:gd name="T41" fmla="*/ 156872 h 365"/>
                      <a:gd name="T42" fmla="*/ 0 w 642"/>
                      <a:gd name="T43" fmla="*/ 105061 h 365"/>
                      <a:gd name="T44" fmla="*/ 58913 w 642"/>
                      <a:gd name="T45" fmla="*/ 70520 h 365"/>
                      <a:gd name="T46" fmla="*/ 78551 w 642"/>
                      <a:gd name="T47" fmla="*/ 0 h 365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0" t="0" r="r" b="b"/>
                    <a:pathLst>
                      <a:path w="642" h="365">
                        <a:moveTo>
                          <a:pt x="52" y="0"/>
                        </a:moveTo>
                        <a:lnTo>
                          <a:pt x="157" y="24"/>
                        </a:lnTo>
                        <a:lnTo>
                          <a:pt x="261" y="97"/>
                        </a:lnTo>
                        <a:lnTo>
                          <a:pt x="327" y="121"/>
                        </a:lnTo>
                        <a:lnTo>
                          <a:pt x="431" y="158"/>
                        </a:lnTo>
                        <a:lnTo>
                          <a:pt x="523" y="194"/>
                        </a:lnTo>
                        <a:lnTo>
                          <a:pt x="628" y="218"/>
                        </a:lnTo>
                        <a:lnTo>
                          <a:pt x="641" y="267"/>
                        </a:lnTo>
                        <a:lnTo>
                          <a:pt x="549" y="279"/>
                        </a:lnTo>
                        <a:lnTo>
                          <a:pt x="523" y="315"/>
                        </a:lnTo>
                        <a:lnTo>
                          <a:pt x="444" y="364"/>
                        </a:lnTo>
                        <a:lnTo>
                          <a:pt x="405" y="352"/>
                        </a:lnTo>
                        <a:lnTo>
                          <a:pt x="340" y="364"/>
                        </a:lnTo>
                        <a:lnTo>
                          <a:pt x="301" y="352"/>
                        </a:lnTo>
                        <a:lnTo>
                          <a:pt x="301" y="303"/>
                        </a:lnTo>
                        <a:lnTo>
                          <a:pt x="301" y="255"/>
                        </a:lnTo>
                        <a:lnTo>
                          <a:pt x="248" y="242"/>
                        </a:lnTo>
                        <a:lnTo>
                          <a:pt x="170" y="267"/>
                        </a:lnTo>
                        <a:lnTo>
                          <a:pt x="131" y="267"/>
                        </a:lnTo>
                        <a:lnTo>
                          <a:pt x="52" y="170"/>
                        </a:lnTo>
                        <a:lnTo>
                          <a:pt x="26" y="109"/>
                        </a:lnTo>
                        <a:lnTo>
                          <a:pt x="0" y="73"/>
                        </a:lnTo>
                        <a:lnTo>
                          <a:pt x="39" y="49"/>
                        </a:lnTo>
                        <a:lnTo>
                          <a:pt x="52" y="0"/>
                        </a:lnTo>
                      </a:path>
                    </a:pathLst>
                  </a:custGeom>
                  <a:solidFill>
                    <a:srgbClr val="008000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004D0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72" name="Freeform 68">
                    <a:extLst>
                      <a:ext uri="{FF2B5EF4-FFF2-40B4-BE49-F238E27FC236}">
                        <a16:creationId xmlns:a16="http://schemas.microsoft.com/office/drawing/2014/main" id="{4DE885A2-5770-45F3-A17F-CE8F7269DAB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676795" y="1903561"/>
                    <a:ext cx="2255837" cy="1714500"/>
                  </a:xfrm>
                  <a:custGeom>
                    <a:avLst/>
                    <a:gdLst>
                      <a:gd name="T0" fmla="*/ 119547 w 1491"/>
                      <a:gd name="T1" fmla="*/ 1432559 h 1189"/>
                      <a:gd name="T2" fmla="*/ 316271 w 1491"/>
                      <a:gd name="T3" fmla="*/ 1520472 h 1189"/>
                      <a:gd name="T4" fmla="*/ 593196 w 1491"/>
                      <a:gd name="T5" fmla="*/ 1625680 h 1189"/>
                      <a:gd name="T6" fmla="*/ 910980 w 1491"/>
                      <a:gd name="T7" fmla="*/ 1625680 h 1189"/>
                      <a:gd name="T8" fmla="*/ 1106190 w 1491"/>
                      <a:gd name="T9" fmla="*/ 1503178 h 1189"/>
                      <a:gd name="T10" fmla="*/ 1304427 w 1491"/>
                      <a:gd name="T11" fmla="*/ 1380675 h 1189"/>
                      <a:gd name="T12" fmla="*/ 1502663 w 1491"/>
                      <a:gd name="T13" fmla="*/ 1451294 h 1189"/>
                      <a:gd name="T14" fmla="*/ 1759917 w 1491"/>
                      <a:gd name="T15" fmla="*/ 1537767 h 1189"/>
                      <a:gd name="T16" fmla="*/ 2056515 w 1491"/>
                      <a:gd name="T17" fmla="*/ 1468589 h 1189"/>
                      <a:gd name="T18" fmla="*/ 2195735 w 1491"/>
                      <a:gd name="T19" fmla="*/ 1275467 h 1189"/>
                      <a:gd name="T20" fmla="*/ 2195735 w 1491"/>
                      <a:gd name="T21" fmla="*/ 1135670 h 1189"/>
                      <a:gd name="T22" fmla="*/ 2215407 w 1491"/>
                      <a:gd name="T23" fmla="*/ 892107 h 1189"/>
                      <a:gd name="T24" fmla="*/ 2254752 w 1491"/>
                      <a:gd name="T25" fmla="*/ 612513 h 1189"/>
                      <a:gd name="T26" fmla="*/ 2076188 w 1491"/>
                      <a:gd name="T27" fmla="*/ 490010 h 1189"/>
                      <a:gd name="T28" fmla="*/ 1938481 w 1491"/>
                      <a:gd name="T29" fmla="*/ 350213 h 1189"/>
                      <a:gd name="T30" fmla="*/ 1799262 w 1491"/>
                      <a:gd name="T31" fmla="*/ 158533 h 1189"/>
                      <a:gd name="T32" fmla="*/ 1720572 w 1491"/>
                      <a:gd name="T33" fmla="*/ 193122 h 1189"/>
                      <a:gd name="T34" fmla="*/ 1620697 w 1491"/>
                      <a:gd name="T35" fmla="*/ 262300 h 1189"/>
                      <a:gd name="T36" fmla="*/ 1561680 w 1491"/>
                      <a:gd name="T37" fmla="*/ 455421 h 1189"/>
                      <a:gd name="T38" fmla="*/ 1443646 w 1491"/>
                      <a:gd name="T39" fmla="*/ 279594 h 1189"/>
                      <a:gd name="T40" fmla="*/ 1343772 w 1491"/>
                      <a:gd name="T41" fmla="*/ 210416 h 1189"/>
                      <a:gd name="T42" fmla="*/ 1245410 w 1491"/>
                      <a:gd name="T43" fmla="*/ 36030 h 1189"/>
                      <a:gd name="T44" fmla="*/ 1186393 w 1491"/>
                      <a:gd name="T45" fmla="*/ 87914 h 1189"/>
                      <a:gd name="T46" fmla="*/ 1029014 w 1491"/>
                      <a:gd name="T47" fmla="*/ 175827 h 1189"/>
                      <a:gd name="T48" fmla="*/ 910980 w 1491"/>
                      <a:gd name="T49" fmla="*/ 245005 h 1189"/>
                      <a:gd name="T50" fmla="*/ 771761 w 1491"/>
                      <a:gd name="T51" fmla="*/ 298330 h 1189"/>
                      <a:gd name="T52" fmla="*/ 732416 w 1491"/>
                      <a:gd name="T53" fmla="*/ 175827 h 1189"/>
                      <a:gd name="T54" fmla="*/ 357128 w 1491"/>
                      <a:gd name="T55" fmla="*/ 175827 h 1189"/>
                      <a:gd name="T56" fmla="*/ 376801 w 1491"/>
                      <a:gd name="T57" fmla="*/ 245005 h 1189"/>
                      <a:gd name="T58" fmla="*/ 396473 w 1491"/>
                      <a:gd name="T59" fmla="*/ 350213 h 1189"/>
                      <a:gd name="T60" fmla="*/ 396473 w 1491"/>
                      <a:gd name="T61" fmla="*/ 507305 h 1189"/>
                      <a:gd name="T62" fmla="*/ 455490 w 1491"/>
                      <a:gd name="T63" fmla="*/ 769604 h 1189"/>
                      <a:gd name="T64" fmla="*/ 396473 w 1491"/>
                      <a:gd name="T65" fmla="*/ 943990 h 1189"/>
                      <a:gd name="T66" fmla="*/ 316271 w 1491"/>
                      <a:gd name="T67" fmla="*/ 1049198 h 1189"/>
                      <a:gd name="T68" fmla="*/ 158892 w 1491"/>
                      <a:gd name="T69" fmla="*/ 1118376 h 1189"/>
                      <a:gd name="T70" fmla="*/ 0 w 1491"/>
                      <a:gd name="T71" fmla="*/ 1206289 h 1189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</a:gdLst>
                    <a:ahLst/>
                    <a:cxnLst>
                      <a:cxn ang="T72">
                        <a:pos x="T0" y="T1"/>
                      </a:cxn>
                      <a:cxn ang="T73">
                        <a:pos x="T2" y="T3"/>
                      </a:cxn>
                      <a:cxn ang="T74">
                        <a:pos x="T4" y="T5"/>
                      </a:cxn>
                      <a:cxn ang="T75">
                        <a:pos x="T6" y="T7"/>
                      </a:cxn>
                      <a:cxn ang="T76">
                        <a:pos x="T8" y="T9"/>
                      </a:cxn>
                      <a:cxn ang="T77">
                        <a:pos x="T10" y="T11"/>
                      </a:cxn>
                      <a:cxn ang="T78">
                        <a:pos x="T12" y="T13"/>
                      </a:cxn>
                      <a:cxn ang="T79">
                        <a:pos x="T14" y="T15"/>
                      </a:cxn>
                      <a:cxn ang="T80">
                        <a:pos x="T16" y="T17"/>
                      </a:cxn>
                      <a:cxn ang="T81">
                        <a:pos x="T18" y="T19"/>
                      </a:cxn>
                      <a:cxn ang="T82">
                        <a:pos x="T20" y="T21"/>
                      </a:cxn>
                      <a:cxn ang="T83">
                        <a:pos x="T22" y="T23"/>
                      </a:cxn>
                      <a:cxn ang="T84">
                        <a:pos x="T24" y="T25"/>
                      </a:cxn>
                      <a:cxn ang="T85">
                        <a:pos x="T26" y="T27"/>
                      </a:cxn>
                      <a:cxn ang="T86">
                        <a:pos x="T28" y="T29"/>
                      </a:cxn>
                      <a:cxn ang="T87">
                        <a:pos x="T30" y="T31"/>
                      </a:cxn>
                      <a:cxn ang="T88">
                        <a:pos x="T32" y="T33"/>
                      </a:cxn>
                      <a:cxn ang="T89">
                        <a:pos x="T34" y="T35"/>
                      </a:cxn>
                      <a:cxn ang="T90">
                        <a:pos x="T36" y="T37"/>
                      </a:cxn>
                      <a:cxn ang="T91">
                        <a:pos x="T38" y="T39"/>
                      </a:cxn>
                      <a:cxn ang="T92">
                        <a:pos x="T40" y="T41"/>
                      </a:cxn>
                      <a:cxn ang="T93">
                        <a:pos x="T42" y="T43"/>
                      </a:cxn>
                      <a:cxn ang="T94">
                        <a:pos x="T44" y="T45"/>
                      </a:cxn>
                      <a:cxn ang="T95">
                        <a:pos x="T46" y="T47"/>
                      </a:cxn>
                      <a:cxn ang="T96">
                        <a:pos x="T48" y="T49"/>
                      </a:cxn>
                      <a:cxn ang="T97">
                        <a:pos x="T50" y="T51"/>
                      </a:cxn>
                      <a:cxn ang="T98">
                        <a:pos x="T52" y="T53"/>
                      </a:cxn>
                      <a:cxn ang="T99">
                        <a:pos x="T54" y="T55"/>
                      </a:cxn>
                      <a:cxn ang="T100">
                        <a:pos x="T56" y="T57"/>
                      </a:cxn>
                      <a:cxn ang="T101">
                        <a:pos x="T58" y="T59"/>
                      </a:cxn>
                      <a:cxn ang="T102">
                        <a:pos x="T60" y="T61"/>
                      </a:cxn>
                      <a:cxn ang="T103">
                        <a:pos x="T62" y="T63"/>
                      </a:cxn>
                      <a:cxn ang="T104">
                        <a:pos x="T64" y="T65"/>
                      </a:cxn>
                      <a:cxn ang="T105">
                        <a:pos x="T66" y="T67"/>
                      </a:cxn>
                      <a:cxn ang="T106">
                        <a:pos x="T68" y="T69"/>
                      </a:cxn>
                      <a:cxn ang="T107">
                        <a:pos x="T70" y="T71"/>
                      </a:cxn>
                    </a:cxnLst>
                    <a:rect l="0" t="0" r="r" b="b"/>
                    <a:pathLst>
                      <a:path w="1491" h="1189">
                        <a:moveTo>
                          <a:pt x="0" y="958"/>
                        </a:moveTo>
                        <a:lnTo>
                          <a:pt x="79" y="994"/>
                        </a:lnTo>
                        <a:lnTo>
                          <a:pt x="131" y="994"/>
                        </a:lnTo>
                        <a:lnTo>
                          <a:pt x="209" y="1055"/>
                        </a:lnTo>
                        <a:lnTo>
                          <a:pt x="301" y="1091"/>
                        </a:lnTo>
                        <a:lnTo>
                          <a:pt x="392" y="1128"/>
                        </a:lnTo>
                        <a:lnTo>
                          <a:pt x="589" y="1188"/>
                        </a:lnTo>
                        <a:lnTo>
                          <a:pt x="602" y="1128"/>
                        </a:lnTo>
                        <a:lnTo>
                          <a:pt x="667" y="1091"/>
                        </a:lnTo>
                        <a:lnTo>
                          <a:pt x="731" y="1043"/>
                        </a:lnTo>
                        <a:lnTo>
                          <a:pt x="810" y="982"/>
                        </a:lnTo>
                        <a:lnTo>
                          <a:pt x="862" y="958"/>
                        </a:lnTo>
                        <a:lnTo>
                          <a:pt x="954" y="1007"/>
                        </a:lnTo>
                        <a:lnTo>
                          <a:pt x="993" y="1007"/>
                        </a:lnTo>
                        <a:lnTo>
                          <a:pt x="1006" y="1055"/>
                        </a:lnTo>
                        <a:lnTo>
                          <a:pt x="1163" y="1067"/>
                        </a:lnTo>
                        <a:lnTo>
                          <a:pt x="1228" y="1055"/>
                        </a:lnTo>
                        <a:lnTo>
                          <a:pt x="1359" y="1019"/>
                        </a:lnTo>
                        <a:lnTo>
                          <a:pt x="1477" y="970"/>
                        </a:lnTo>
                        <a:lnTo>
                          <a:pt x="1451" y="885"/>
                        </a:lnTo>
                        <a:lnTo>
                          <a:pt x="1451" y="849"/>
                        </a:lnTo>
                        <a:lnTo>
                          <a:pt x="1451" y="788"/>
                        </a:lnTo>
                        <a:lnTo>
                          <a:pt x="1464" y="716"/>
                        </a:lnTo>
                        <a:lnTo>
                          <a:pt x="1464" y="619"/>
                        </a:lnTo>
                        <a:lnTo>
                          <a:pt x="1490" y="497"/>
                        </a:lnTo>
                        <a:lnTo>
                          <a:pt x="1490" y="425"/>
                        </a:lnTo>
                        <a:lnTo>
                          <a:pt x="1438" y="376"/>
                        </a:lnTo>
                        <a:lnTo>
                          <a:pt x="1372" y="340"/>
                        </a:lnTo>
                        <a:lnTo>
                          <a:pt x="1307" y="291"/>
                        </a:lnTo>
                        <a:lnTo>
                          <a:pt x="1281" y="243"/>
                        </a:lnTo>
                        <a:lnTo>
                          <a:pt x="1215" y="194"/>
                        </a:lnTo>
                        <a:lnTo>
                          <a:pt x="1189" y="110"/>
                        </a:lnTo>
                        <a:lnTo>
                          <a:pt x="1189" y="85"/>
                        </a:lnTo>
                        <a:lnTo>
                          <a:pt x="1137" y="134"/>
                        </a:lnTo>
                        <a:lnTo>
                          <a:pt x="1124" y="170"/>
                        </a:lnTo>
                        <a:lnTo>
                          <a:pt x="1071" y="182"/>
                        </a:lnTo>
                        <a:lnTo>
                          <a:pt x="1058" y="231"/>
                        </a:lnTo>
                        <a:lnTo>
                          <a:pt x="1032" y="316"/>
                        </a:lnTo>
                        <a:lnTo>
                          <a:pt x="980" y="291"/>
                        </a:lnTo>
                        <a:lnTo>
                          <a:pt x="954" y="194"/>
                        </a:lnTo>
                        <a:lnTo>
                          <a:pt x="888" y="182"/>
                        </a:lnTo>
                        <a:lnTo>
                          <a:pt x="888" y="146"/>
                        </a:lnTo>
                        <a:lnTo>
                          <a:pt x="862" y="110"/>
                        </a:lnTo>
                        <a:lnTo>
                          <a:pt x="823" y="25"/>
                        </a:lnTo>
                        <a:lnTo>
                          <a:pt x="759" y="0"/>
                        </a:lnTo>
                        <a:lnTo>
                          <a:pt x="784" y="61"/>
                        </a:lnTo>
                        <a:lnTo>
                          <a:pt x="746" y="97"/>
                        </a:lnTo>
                        <a:lnTo>
                          <a:pt x="680" y="122"/>
                        </a:lnTo>
                        <a:lnTo>
                          <a:pt x="654" y="158"/>
                        </a:lnTo>
                        <a:lnTo>
                          <a:pt x="602" y="170"/>
                        </a:lnTo>
                        <a:lnTo>
                          <a:pt x="589" y="219"/>
                        </a:lnTo>
                        <a:lnTo>
                          <a:pt x="510" y="207"/>
                        </a:lnTo>
                        <a:lnTo>
                          <a:pt x="484" y="134"/>
                        </a:lnTo>
                        <a:lnTo>
                          <a:pt x="484" y="122"/>
                        </a:lnTo>
                        <a:lnTo>
                          <a:pt x="406" y="134"/>
                        </a:lnTo>
                        <a:lnTo>
                          <a:pt x="236" y="122"/>
                        </a:lnTo>
                        <a:lnTo>
                          <a:pt x="196" y="134"/>
                        </a:lnTo>
                        <a:lnTo>
                          <a:pt x="249" y="170"/>
                        </a:lnTo>
                        <a:lnTo>
                          <a:pt x="327" y="207"/>
                        </a:lnTo>
                        <a:lnTo>
                          <a:pt x="262" y="243"/>
                        </a:lnTo>
                        <a:lnTo>
                          <a:pt x="249" y="303"/>
                        </a:lnTo>
                        <a:lnTo>
                          <a:pt x="262" y="352"/>
                        </a:lnTo>
                        <a:lnTo>
                          <a:pt x="301" y="400"/>
                        </a:lnTo>
                        <a:lnTo>
                          <a:pt x="301" y="534"/>
                        </a:lnTo>
                        <a:lnTo>
                          <a:pt x="275" y="582"/>
                        </a:lnTo>
                        <a:lnTo>
                          <a:pt x="262" y="655"/>
                        </a:lnTo>
                        <a:lnTo>
                          <a:pt x="249" y="728"/>
                        </a:lnTo>
                        <a:lnTo>
                          <a:pt x="209" y="728"/>
                        </a:lnTo>
                        <a:lnTo>
                          <a:pt x="118" y="740"/>
                        </a:lnTo>
                        <a:lnTo>
                          <a:pt x="105" y="776"/>
                        </a:lnTo>
                        <a:lnTo>
                          <a:pt x="39" y="776"/>
                        </a:lnTo>
                        <a:lnTo>
                          <a:pt x="0" y="837"/>
                        </a:lnTo>
                        <a:lnTo>
                          <a:pt x="0" y="958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round/>
                        <a:headEnd type="none" w="sm" len="sm"/>
                        <a:tailEnd type="stealth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73" name="Freeform 69">
                    <a:extLst>
                      <a:ext uri="{FF2B5EF4-FFF2-40B4-BE49-F238E27FC236}">
                        <a16:creationId xmlns:a16="http://schemas.microsoft.com/office/drawing/2014/main" id="{78EC5EFD-FDA4-4190-9305-90745FC39CE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676795" y="1903561"/>
                    <a:ext cx="2255837" cy="1714500"/>
                  </a:xfrm>
                  <a:custGeom>
                    <a:avLst/>
                    <a:gdLst>
                      <a:gd name="T0" fmla="*/ 119547 w 1491"/>
                      <a:gd name="T1" fmla="*/ 1432559 h 1189"/>
                      <a:gd name="T2" fmla="*/ 316271 w 1491"/>
                      <a:gd name="T3" fmla="*/ 1520472 h 1189"/>
                      <a:gd name="T4" fmla="*/ 593196 w 1491"/>
                      <a:gd name="T5" fmla="*/ 1625680 h 1189"/>
                      <a:gd name="T6" fmla="*/ 910980 w 1491"/>
                      <a:gd name="T7" fmla="*/ 1625680 h 1189"/>
                      <a:gd name="T8" fmla="*/ 1106190 w 1491"/>
                      <a:gd name="T9" fmla="*/ 1503178 h 1189"/>
                      <a:gd name="T10" fmla="*/ 1304427 w 1491"/>
                      <a:gd name="T11" fmla="*/ 1380675 h 1189"/>
                      <a:gd name="T12" fmla="*/ 1502663 w 1491"/>
                      <a:gd name="T13" fmla="*/ 1451294 h 1189"/>
                      <a:gd name="T14" fmla="*/ 1759917 w 1491"/>
                      <a:gd name="T15" fmla="*/ 1537767 h 1189"/>
                      <a:gd name="T16" fmla="*/ 2056515 w 1491"/>
                      <a:gd name="T17" fmla="*/ 1468589 h 1189"/>
                      <a:gd name="T18" fmla="*/ 2195735 w 1491"/>
                      <a:gd name="T19" fmla="*/ 1275467 h 1189"/>
                      <a:gd name="T20" fmla="*/ 2195735 w 1491"/>
                      <a:gd name="T21" fmla="*/ 1135670 h 1189"/>
                      <a:gd name="T22" fmla="*/ 2215407 w 1491"/>
                      <a:gd name="T23" fmla="*/ 892107 h 1189"/>
                      <a:gd name="T24" fmla="*/ 2254752 w 1491"/>
                      <a:gd name="T25" fmla="*/ 612513 h 1189"/>
                      <a:gd name="T26" fmla="*/ 2076188 w 1491"/>
                      <a:gd name="T27" fmla="*/ 490010 h 1189"/>
                      <a:gd name="T28" fmla="*/ 1938481 w 1491"/>
                      <a:gd name="T29" fmla="*/ 350213 h 1189"/>
                      <a:gd name="T30" fmla="*/ 1799262 w 1491"/>
                      <a:gd name="T31" fmla="*/ 158533 h 1189"/>
                      <a:gd name="T32" fmla="*/ 1720572 w 1491"/>
                      <a:gd name="T33" fmla="*/ 193122 h 1189"/>
                      <a:gd name="T34" fmla="*/ 1620697 w 1491"/>
                      <a:gd name="T35" fmla="*/ 262300 h 1189"/>
                      <a:gd name="T36" fmla="*/ 1561680 w 1491"/>
                      <a:gd name="T37" fmla="*/ 455421 h 1189"/>
                      <a:gd name="T38" fmla="*/ 1443646 w 1491"/>
                      <a:gd name="T39" fmla="*/ 279594 h 1189"/>
                      <a:gd name="T40" fmla="*/ 1343772 w 1491"/>
                      <a:gd name="T41" fmla="*/ 210416 h 1189"/>
                      <a:gd name="T42" fmla="*/ 1245410 w 1491"/>
                      <a:gd name="T43" fmla="*/ 36030 h 1189"/>
                      <a:gd name="T44" fmla="*/ 1186393 w 1491"/>
                      <a:gd name="T45" fmla="*/ 87914 h 1189"/>
                      <a:gd name="T46" fmla="*/ 1029014 w 1491"/>
                      <a:gd name="T47" fmla="*/ 175827 h 1189"/>
                      <a:gd name="T48" fmla="*/ 910980 w 1491"/>
                      <a:gd name="T49" fmla="*/ 245005 h 1189"/>
                      <a:gd name="T50" fmla="*/ 771761 w 1491"/>
                      <a:gd name="T51" fmla="*/ 298330 h 1189"/>
                      <a:gd name="T52" fmla="*/ 732416 w 1491"/>
                      <a:gd name="T53" fmla="*/ 175827 h 1189"/>
                      <a:gd name="T54" fmla="*/ 357128 w 1491"/>
                      <a:gd name="T55" fmla="*/ 175827 h 1189"/>
                      <a:gd name="T56" fmla="*/ 376801 w 1491"/>
                      <a:gd name="T57" fmla="*/ 245005 h 1189"/>
                      <a:gd name="T58" fmla="*/ 396473 w 1491"/>
                      <a:gd name="T59" fmla="*/ 350213 h 1189"/>
                      <a:gd name="T60" fmla="*/ 396473 w 1491"/>
                      <a:gd name="T61" fmla="*/ 507305 h 1189"/>
                      <a:gd name="T62" fmla="*/ 455490 w 1491"/>
                      <a:gd name="T63" fmla="*/ 769604 h 1189"/>
                      <a:gd name="T64" fmla="*/ 396473 w 1491"/>
                      <a:gd name="T65" fmla="*/ 943990 h 1189"/>
                      <a:gd name="T66" fmla="*/ 316271 w 1491"/>
                      <a:gd name="T67" fmla="*/ 1049198 h 1189"/>
                      <a:gd name="T68" fmla="*/ 158892 w 1491"/>
                      <a:gd name="T69" fmla="*/ 1118376 h 1189"/>
                      <a:gd name="T70" fmla="*/ 0 w 1491"/>
                      <a:gd name="T71" fmla="*/ 1206289 h 1189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</a:gdLst>
                    <a:ahLst/>
                    <a:cxnLst>
                      <a:cxn ang="T72">
                        <a:pos x="T0" y="T1"/>
                      </a:cxn>
                      <a:cxn ang="T73">
                        <a:pos x="T2" y="T3"/>
                      </a:cxn>
                      <a:cxn ang="T74">
                        <a:pos x="T4" y="T5"/>
                      </a:cxn>
                      <a:cxn ang="T75">
                        <a:pos x="T6" y="T7"/>
                      </a:cxn>
                      <a:cxn ang="T76">
                        <a:pos x="T8" y="T9"/>
                      </a:cxn>
                      <a:cxn ang="T77">
                        <a:pos x="T10" y="T11"/>
                      </a:cxn>
                      <a:cxn ang="T78">
                        <a:pos x="T12" y="T13"/>
                      </a:cxn>
                      <a:cxn ang="T79">
                        <a:pos x="T14" y="T15"/>
                      </a:cxn>
                      <a:cxn ang="T80">
                        <a:pos x="T16" y="T17"/>
                      </a:cxn>
                      <a:cxn ang="T81">
                        <a:pos x="T18" y="T19"/>
                      </a:cxn>
                      <a:cxn ang="T82">
                        <a:pos x="T20" y="T21"/>
                      </a:cxn>
                      <a:cxn ang="T83">
                        <a:pos x="T22" y="T23"/>
                      </a:cxn>
                      <a:cxn ang="T84">
                        <a:pos x="T24" y="T25"/>
                      </a:cxn>
                      <a:cxn ang="T85">
                        <a:pos x="T26" y="T27"/>
                      </a:cxn>
                      <a:cxn ang="T86">
                        <a:pos x="T28" y="T29"/>
                      </a:cxn>
                      <a:cxn ang="T87">
                        <a:pos x="T30" y="T31"/>
                      </a:cxn>
                      <a:cxn ang="T88">
                        <a:pos x="T32" y="T33"/>
                      </a:cxn>
                      <a:cxn ang="T89">
                        <a:pos x="T34" y="T35"/>
                      </a:cxn>
                      <a:cxn ang="T90">
                        <a:pos x="T36" y="T37"/>
                      </a:cxn>
                      <a:cxn ang="T91">
                        <a:pos x="T38" y="T39"/>
                      </a:cxn>
                      <a:cxn ang="T92">
                        <a:pos x="T40" y="T41"/>
                      </a:cxn>
                      <a:cxn ang="T93">
                        <a:pos x="T42" y="T43"/>
                      </a:cxn>
                      <a:cxn ang="T94">
                        <a:pos x="T44" y="T45"/>
                      </a:cxn>
                      <a:cxn ang="T95">
                        <a:pos x="T46" y="T47"/>
                      </a:cxn>
                      <a:cxn ang="T96">
                        <a:pos x="T48" y="T49"/>
                      </a:cxn>
                      <a:cxn ang="T97">
                        <a:pos x="T50" y="T51"/>
                      </a:cxn>
                      <a:cxn ang="T98">
                        <a:pos x="T52" y="T53"/>
                      </a:cxn>
                      <a:cxn ang="T99">
                        <a:pos x="T54" y="T55"/>
                      </a:cxn>
                      <a:cxn ang="T100">
                        <a:pos x="T56" y="T57"/>
                      </a:cxn>
                      <a:cxn ang="T101">
                        <a:pos x="T58" y="T59"/>
                      </a:cxn>
                      <a:cxn ang="T102">
                        <a:pos x="T60" y="T61"/>
                      </a:cxn>
                      <a:cxn ang="T103">
                        <a:pos x="T62" y="T63"/>
                      </a:cxn>
                      <a:cxn ang="T104">
                        <a:pos x="T64" y="T65"/>
                      </a:cxn>
                      <a:cxn ang="T105">
                        <a:pos x="T66" y="T67"/>
                      </a:cxn>
                      <a:cxn ang="T106">
                        <a:pos x="T68" y="T69"/>
                      </a:cxn>
                      <a:cxn ang="T107">
                        <a:pos x="T70" y="T71"/>
                      </a:cxn>
                    </a:cxnLst>
                    <a:rect l="0" t="0" r="r" b="b"/>
                    <a:pathLst>
                      <a:path w="1491" h="1189">
                        <a:moveTo>
                          <a:pt x="0" y="958"/>
                        </a:moveTo>
                        <a:lnTo>
                          <a:pt x="79" y="994"/>
                        </a:lnTo>
                        <a:lnTo>
                          <a:pt x="131" y="994"/>
                        </a:lnTo>
                        <a:lnTo>
                          <a:pt x="209" y="1055"/>
                        </a:lnTo>
                        <a:lnTo>
                          <a:pt x="301" y="1091"/>
                        </a:lnTo>
                        <a:lnTo>
                          <a:pt x="392" y="1128"/>
                        </a:lnTo>
                        <a:lnTo>
                          <a:pt x="589" y="1188"/>
                        </a:lnTo>
                        <a:lnTo>
                          <a:pt x="602" y="1128"/>
                        </a:lnTo>
                        <a:lnTo>
                          <a:pt x="667" y="1091"/>
                        </a:lnTo>
                        <a:lnTo>
                          <a:pt x="731" y="1043"/>
                        </a:lnTo>
                        <a:lnTo>
                          <a:pt x="810" y="982"/>
                        </a:lnTo>
                        <a:lnTo>
                          <a:pt x="862" y="958"/>
                        </a:lnTo>
                        <a:lnTo>
                          <a:pt x="954" y="1007"/>
                        </a:lnTo>
                        <a:lnTo>
                          <a:pt x="993" y="1007"/>
                        </a:lnTo>
                        <a:lnTo>
                          <a:pt x="1006" y="1055"/>
                        </a:lnTo>
                        <a:lnTo>
                          <a:pt x="1163" y="1067"/>
                        </a:lnTo>
                        <a:lnTo>
                          <a:pt x="1228" y="1055"/>
                        </a:lnTo>
                        <a:lnTo>
                          <a:pt x="1359" y="1019"/>
                        </a:lnTo>
                        <a:lnTo>
                          <a:pt x="1477" y="970"/>
                        </a:lnTo>
                        <a:lnTo>
                          <a:pt x="1451" y="885"/>
                        </a:lnTo>
                        <a:lnTo>
                          <a:pt x="1451" y="849"/>
                        </a:lnTo>
                        <a:lnTo>
                          <a:pt x="1451" y="788"/>
                        </a:lnTo>
                        <a:lnTo>
                          <a:pt x="1464" y="716"/>
                        </a:lnTo>
                        <a:lnTo>
                          <a:pt x="1464" y="619"/>
                        </a:lnTo>
                        <a:lnTo>
                          <a:pt x="1490" y="497"/>
                        </a:lnTo>
                        <a:lnTo>
                          <a:pt x="1490" y="425"/>
                        </a:lnTo>
                        <a:lnTo>
                          <a:pt x="1438" y="376"/>
                        </a:lnTo>
                        <a:lnTo>
                          <a:pt x="1372" y="340"/>
                        </a:lnTo>
                        <a:lnTo>
                          <a:pt x="1307" y="291"/>
                        </a:lnTo>
                        <a:lnTo>
                          <a:pt x="1281" y="243"/>
                        </a:lnTo>
                        <a:lnTo>
                          <a:pt x="1215" y="194"/>
                        </a:lnTo>
                        <a:lnTo>
                          <a:pt x="1189" y="110"/>
                        </a:lnTo>
                        <a:lnTo>
                          <a:pt x="1189" y="85"/>
                        </a:lnTo>
                        <a:lnTo>
                          <a:pt x="1137" y="134"/>
                        </a:lnTo>
                        <a:lnTo>
                          <a:pt x="1124" y="170"/>
                        </a:lnTo>
                        <a:lnTo>
                          <a:pt x="1071" y="182"/>
                        </a:lnTo>
                        <a:lnTo>
                          <a:pt x="1058" y="231"/>
                        </a:lnTo>
                        <a:lnTo>
                          <a:pt x="1032" y="316"/>
                        </a:lnTo>
                        <a:lnTo>
                          <a:pt x="980" y="291"/>
                        </a:lnTo>
                        <a:lnTo>
                          <a:pt x="954" y="194"/>
                        </a:lnTo>
                        <a:lnTo>
                          <a:pt x="888" y="182"/>
                        </a:lnTo>
                        <a:lnTo>
                          <a:pt x="888" y="146"/>
                        </a:lnTo>
                        <a:lnTo>
                          <a:pt x="862" y="110"/>
                        </a:lnTo>
                        <a:lnTo>
                          <a:pt x="823" y="25"/>
                        </a:lnTo>
                        <a:lnTo>
                          <a:pt x="759" y="0"/>
                        </a:lnTo>
                        <a:lnTo>
                          <a:pt x="784" y="61"/>
                        </a:lnTo>
                        <a:lnTo>
                          <a:pt x="746" y="97"/>
                        </a:lnTo>
                        <a:lnTo>
                          <a:pt x="680" y="122"/>
                        </a:lnTo>
                        <a:lnTo>
                          <a:pt x="654" y="158"/>
                        </a:lnTo>
                        <a:lnTo>
                          <a:pt x="602" y="170"/>
                        </a:lnTo>
                        <a:lnTo>
                          <a:pt x="589" y="219"/>
                        </a:lnTo>
                        <a:lnTo>
                          <a:pt x="510" y="207"/>
                        </a:lnTo>
                        <a:lnTo>
                          <a:pt x="484" y="134"/>
                        </a:lnTo>
                        <a:lnTo>
                          <a:pt x="484" y="122"/>
                        </a:lnTo>
                        <a:lnTo>
                          <a:pt x="406" y="134"/>
                        </a:lnTo>
                        <a:lnTo>
                          <a:pt x="236" y="122"/>
                        </a:lnTo>
                        <a:lnTo>
                          <a:pt x="196" y="134"/>
                        </a:lnTo>
                        <a:lnTo>
                          <a:pt x="249" y="170"/>
                        </a:lnTo>
                        <a:lnTo>
                          <a:pt x="327" y="207"/>
                        </a:lnTo>
                        <a:lnTo>
                          <a:pt x="262" y="243"/>
                        </a:lnTo>
                        <a:lnTo>
                          <a:pt x="249" y="303"/>
                        </a:lnTo>
                        <a:lnTo>
                          <a:pt x="262" y="352"/>
                        </a:lnTo>
                        <a:lnTo>
                          <a:pt x="301" y="400"/>
                        </a:lnTo>
                        <a:lnTo>
                          <a:pt x="301" y="534"/>
                        </a:lnTo>
                        <a:lnTo>
                          <a:pt x="275" y="582"/>
                        </a:lnTo>
                        <a:lnTo>
                          <a:pt x="262" y="655"/>
                        </a:lnTo>
                        <a:lnTo>
                          <a:pt x="249" y="728"/>
                        </a:lnTo>
                        <a:lnTo>
                          <a:pt x="209" y="728"/>
                        </a:lnTo>
                        <a:lnTo>
                          <a:pt x="118" y="740"/>
                        </a:lnTo>
                        <a:lnTo>
                          <a:pt x="105" y="776"/>
                        </a:lnTo>
                        <a:lnTo>
                          <a:pt x="39" y="776"/>
                        </a:lnTo>
                        <a:lnTo>
                          <a:pt x="0" y="837"/>
                        </a:lnTo>
                        <a:lnTo>
                          <a:pt x="0" y="958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74" name="Freeform 70">
                    <a:extLst>
                      <a:ext uri="{FF2B5EF4-FFF2-40B4-BE49-F238E27FC236}">
                        <a16:creationId xmlns:a16="http://schemas.microsoft.com/office/drawing/2014/main" id="{77BDB5D1-2474-4AE7-83A0-18AF68E5936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743595" y="1609874"/>
                    <a:ext cx="735012" cy="785812"/>
                  </a:xfrm>
                  <a:custGeom>
                    <a:avLst/>
                    <a:gdLst>
                      <a:gd name="T0" fmla="*/ 693607 w 485"/>
                      <a:gd name="T1" fmla="*/ 471216 h 547"/>
                      <a:gd name="T2" fmla="*/ 654231 w 485"/>
                      <a:gd name="T3" fmla="*/ 400821 h 547"/>
                      <a:gd name="T4" fmla="*/ 673919 w 485"/>
                      <a:gd name="T5" fmla="*/ 314623 h 547"/>
                      <a:gd name="T6" fmla="*/ 732982 w 485"/>
                      <a:gd name="T7" fmla="*/ 244228 h 547"/>
                      <a:gd name="T8" fmla="*/ 732982 w 485"/>
                      <a:gd name="T9" fmla="*/ 175269 h 547"/>
                      <a:gd name="T10" fmla="*/ 673919 w 485"/>
                      <a:gd name="T11" fmla="*/ 139354 h 547"/>
                      <a:gd name="T12" fmla="*/ 713294 w 485"/>
                      <a:gd name="T13" fmla="*/ 70395 h 547"/>
                      <a:gd name="T14" fmla="*/ 673919 w 485"/>
                      <a:gd name="T15" fmla="*/ 0 h 547"/>
                      <a:gd name="T16" fmla="*/ 554279 w 485"/>
                      <a:gd name="T17" fmla="*/ 18676 h 547"/>
                      <a:gd name="T18" fmla="*/ 534592 w 485"/>
                      <a:gd name="T19" fmla="*/ 0 h 547"/>
                      <a:gd name="T20" fmla="*/ 514904 w 485"/>
                      <a:gd name="T21" fmla="*/ 35916 h 547"/>
                      <a:gd name="T22" fmla="*/ 495217 w 485"/>
                      <a:gd name="T23" fmla="*/ 70395 h 547"/>
                      <a:gd name="T24" fmla="*/ 455842 w 485"/>
                      <a:gd name="T25" fmla="*/ 104874 h 547"/>
                      <a:gd name="T26" fmla="*/ 357404 w 485"/>
                      <a:gd name="T27" fmla="*/ 87635 h 547"/>
                      <a:gd name="T28" fmla="*/ 357404 w 485"/>
                      <a:gd name="T29" fmla="*/ 104874 h 547"/>
                      <a:gd name="T30" fmla="*/ 316515 w 485"/>
                      <a:gd name="T31" fmla="*/ 156593 h 547"/>
                      <a:gd name="T32" fmla="*/ 296827 w 485"/>
                      <a:gd name="T33" fmla="*/ 175269 h 547"/>
                      <a:gd name="T34" fmla="*/ 257452 w 485"/>
                      <a:gd name="T35" fmla="*/ 209749 h 547"/>
                      <a:gd name="T36" fmla="*/ 198390 w 485"/>
                      <a:gd name="T37" fmla="*/ 192509 h 547"/>
                      <a:gd name="T38" fmla="*/ 139327 w 485"/>
                      <a:gd name="T39" fmla="*/ 156593 h 547"/>
                      <a:gd name="T40" fmla="*/ 39375 w 485"/>
                      <a:gd name="T41" fmla="*/ 156593 h 547"/>
                      <a:gd name="T42" fmla="*/ 39375 w 485"/>
                      <a:gd name="T43" fmla="*/ 175269 h 547"/>
                      <a:gd name="T44" fmla="*/ 0 w 485"/>
                      <a:gd name="T45" fmla="*/ 175269 h 547"/>
                      <a:gd name="T46" fmla="*/ 39375 w 485"/>
                      <a:gd name="T47" fmla="*/ 244228 h 547"/>
                      <a:gd name="T48" fmla="*/ 60577 w 485"/>
                      <a:gd name="T49" fmla="*/ 278707 h 547"/>
                      <a:gd name="T50" fmla="*/ 80265 w 485"/>
                      <a:gd name="T51" fmla="*/ 331863 h 547"/>
                      <a:gd name="T52" fmla="*/ 139327 w 485"/>
                      <a:gd name="T53" fmla="*/ 366342 h 547"/>
                      <a:gd name="T54" fmla="*/ 178702 w 485"/>
                      <a:gd name="T55" fmla="*/ 435300 h 547"/>
                      <a:gd name="T56" fmla="*/ 198390 w 485"/>
                      <a:gd name="T57" fmla="*/ 471216 h 547"/>
                      <a:gd name="T58" fmla="*/ 218077 w 485"/>
                      <a:gd name="T59" fmla="*/ 488456 h 547"/>
                      <a:gd name="T60" fmla="*/ 218077 w 485"/>
                      <a:gd name="T61" fmla="*/ 540175 h 547"/>
                      <a:gd name="T62" fmla="*/ 218077 w 485"/>
                      <a:gd name="T63" fmla="*/ 557414 h 547"/>
                      <a:gd name="T64" fmla="*/ 277140 w 485"/>
                      <a:gd name="T65" fmla="*/ 593330 h 547"/>
                      <a:gd name="T66" fmla="*/ 296827 w 485"/>
                      <a:gd name="T67" fmla="*/ 593330 h 547"/>
                      <a:gd name="T68" fmla="*/ 316515 w 485"/>
                      <a:gd name="T69" fmla="*/ 610570 h 547"/>
                      <a:gd name="T70" fmla="*/ 357404 w 485"/>
                      <a:gd name="T71" fmla="*/ 679528 h 547"/>
                      <a:gd name="T72" fmla="*/ 357404 w 485"/>
                      <a:gd name="T73" fmla="*/ 749923 h 547"/>
                      <a:gd name="T74" fmla="*/ 396779 w 485"/>
                      <a:gd name="T75" fmla="*/ 767163 h 547"/>
                      <a:gd name="T76" fmla="*/ 455842 w 485"/>
                      <a:gd name="T77" fmla="*/ 784402 h 547"/>
                      <a:gd name="T78" fmla="*/ 495217 w 485"/>
                      <a:gd name="T79" fmla="*/ 714007 h 547"/>
                      <a:gd name="T80" fmla="*/ 534592 w 485"/>
                      <a:gd name="T81" fmla="*/ 679528 h 547"/>
                      <a:gd name="T82" fmla="*/ 554279 w 485"/>
                      <a:gd name="T83" fmla="*/ 593330 h 547"/>
                      <a:gd name="T84" fmla="*/ 573967 w 485"/>
                      <a:gd name="T85" fmla="*/ 574654 h 547"/>
                      <a:gd name="T86" fmla="*/ 614856 w 485"/>
                      <a:gd name="T87" fmla="*/ 574654 h 547"/>
                      <a:gd name="T88" fmla="*/ 693607 w 485"/>
                      <a:gd name="T89" fmla="*/ 471216 h 547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</a:gdLst>
                    <a:ahLst/>
                    <a:cxnLst>
                      <a:cxn ang="T90">
                        <a:pos x="T0" y="T1"/>
                      </a:cxn>
                      <a:cxn ang="T91">
                        <a:pos x="T2" y="T3"/>
                      </a:cxn>
                      <a:cxn ang="T92">
                        <a:pos x="T4" y="T5"/>
                      </a:cxn>
                      <a:cxn ang="T93">
                        <a:pos x="T6" y="T7"/>
                      </a:cxn>
                      <a:cxn ang="T94">
                        <a:pos x="T8" y="T9"/>
                      </a:cxn>
                      <a:cxn ang="T95">
                        <a:pos x="T10" y="T11"/>
                      </a:cxn>
                      <a:cxn ang="T96">
                        <a:pos x="T12" y="T13"/>
                      </a:cxn>
                      <a:cxn ang="T97">
                        <a:pos x="T14" y="T15"/>
                      </a:cxn>
                      <a:cxn ang="T98">
                        <a:pos x="T16" y="T17"/>
                      </a:cxn>
                      <a:cxn ang="T99">
                        <a:pos x="T18" y="T19"/>
                      </a:cxn>
                      <a:cxn ang="T100">
                        <a:pos x="T20" y="T21"/>
                      </a:cxn>
                      <a:cxn ang="T101">
                        <a:pos x="T22" y="T23"/>
                      </a:cxn>
                      <a:cxn ang="T102">
                        <a:pos x="T24" y="T25"/>
                      </a:cxn>
                      <a:cxn ang="T103">
                        <a:pos x="T26" y="T27"/>
                      </a:cxn>
                      <a:cxn ang="T104">
                        <a:pos x="T28" y="T29"/>
                      </a:cxn>
                      <a:cxn ang="T105">
                        <a:pos x="T30" y="T31"/>
                      </a:cxn>
                      <a:cxn ang="T106">
                        <a:pos x="T32" y="T33"/>
                      </a:cxn>
                      <a:cxn ang="T107">
                        <a:pos x="T34" y="T35"/>
                      </a:cxn>
                      <a:cxn ang="T108">
                        <a:pos x="T36" y="T37"/>
                      </a:cxn>
                      <a:cxn ang="T109">
                        <a:pos x="T38" y="T39"/>
                      </a:cxn>
                      <a:cxn ang="T110">
                        <a:pos x="T40" y="T41"/>
                      </a:cxn>
                      <a:cxn ang="T111">
                        <a:pos x="T42" y="T43"/>
                      </a:cxn>
                      <a:cxn ang="T112">
                        <a:pos x="T44" y="T45"/>
                      </a:cxn>
                      <a:cxn ang="T113">
                        <a:pos x="T46" y="T47"/>
                      </a:cxn>
                      <a:cxn ang="T114">
                        <a:pos x="T48" y="T49"/>
                      </a:cxn>
                      <a:cxn ang="T115">
                        <a:pos x="T50" y="T51"/>
                      </a:cxn>
                      <a:cxn ang="T116">
                        <a:pos x="T52" y="T53"/>
                      </a:cxn>
                      <a:cxn ang="T117">
                        <a:pos x="T54" y="T55"/>
                      </a:cxn>
                      <a:cxn ang="T118">
                        <a:pos x="T56" y="T57"/>
                      </a:cxn>
                      <a:cxn ang="T119">
                        <a:pos x="T58" y="T59"/>
                      </a:cxn>
                      <a:cxn ang="T120">
                        <a:pos x="T60" y="T61"/>
                      </a:cxn>
                      <a:cxn ang="T121">
                        <a:pos x="T62" y="T63"/>
                      </a:cxn>
                      <a:cxn ang="T122">
                        <a:pos x="T64" y="T65"/>
                      </a:cxn>
                      <a:cxn ang="T123">
                        <a:pos x="T66" y="T67"/>
                      </a:cxn>
                      <a:cxn ang="T124">
                        <a:pos x="T68" y="T69"/>
                      </a:cxn>
                      <a:cxn ang="T125">
                        <a:pos x="T70" y="T71"/>
                      </a:cxn>
                      <a:cxn ang="T126">
                        <a:pos x="T72" y="T73"/>
                      </a:cxn>
                      <a:cxn ang="T127">
                        <a:pos x="T74" y="T75"/>
                      </a:cxn>
                      <a:cxn ang="T128">
                        <a:pos x="T76" y="T77"/>
                      </a:cxn>
                      <a:cxn ang="T129">
                        <a:pos x="T78" y="T79"/>
                      </a:cxn>
                      <a:cxn ang="T130">
                        <a:pos x="T80" y="T81"/>
                      </a:cxn>
                      <a:cxn ang="T131">
                        <a:pos x="T82" y="T83"/>
                      </a:cxn>
                      <a:cxn ang="T132">
                        <a:pos x="T84" y="T85"/>
                      </a:cxn>
                      <a:cxn ang="T133">
                        <a:pos x="T86" y="T87"/>
                      </a:cxn>
                      <a:cxn ang="T134">
                        <a:pos x="T88" y="T89"/>
                      </a:cxn>
                    </a:cxnLst>
                    <a:rect l="0" t="0" r="r" b="b"/>
                    <a:pathLst>
                      <a:path w="485" h="547">
                        <a:moveTo>
                          <a:pt x="458" y="328"/>
                        </a:moveTo>
                        <a:lnTo>
                          <a:pt x="432" y="279"/>
                        </a:lnTo>
                        <a:lnTo>
                          <a:pt x="445" y="219"/>
                        </a:lnTo>
                        <a:lnTo>
                          <a:pt x="484" y="170"/>
                        </a:lnTo>
                        <a:lnTo>
                          <a:pt x="484" y="122"/>
                        </a:lnTo>
                        <a:lnTo>
                          <a:pt x="445" y="97"/>
                        </a:lnTo>
                        <a:lnTo>
                          <a:pt x="471" y="49"/>
                        </a:lnTo>
                        <a:lnTo>
                          <a:pt x="445" y="0"/>
                        </a:lnTo>
                        <a:lnTo>
                          <a:pt x="366" y="13"/>
                        </a:lnTo>
                        <a:lnTo>
                          <a:pt x="353" y="0"/>
                        </a:lnTo>
                        <a:lnTo>
                          <a:pt x="340" y="25"/>
                        </a:lnTo>
                        <a:lnTo>
                          <a:pt x="327" y="49"/>
                        </a:lnTo>
                        <a:lnTo>
                          <a:pt x="301" y="73"/>
                        </a:lnTo>
                        <a:lnTo>
                          <a:pt x="236" y="61"/>
                        </a:lnTo>
                        <a:lnTo>
                          <a:pt x="236" y="73"/>
                        </a:lnTo>
                        <a:lnTo>
                          <a:pt x="209" y="109"/>
                        </a:lnTo>
                        <a:lnTo>
                          <a:pt x="196" y="122"/>
                        </a:lnTo>
                        <a:lnTo>
                          <a:pt x="170" y="146"/>
                        </a:lnTo>
                        <a:lnTo>
                          <a:pt x="131" y="134"/>
                        </a:lnTo>
                        <a:lnTo>
                          <a:pt x="92" y="109"/>
                        </a:lnTo>
                        <a:lnTo>
                          <a:pt x="26" y="109"/>
                        </a:lnTo>
                        <a:lnTo>
                          <a:pt x="26" y="122"/>
                        </a:lnTo>
                        <a:lnTo>
                          <a:pt x="0" y="122"/>
                        </a:lnTo>
                        <a:lnTo>
                          <a:pt x="26" y="170"/>
                        </a:lnTo>
                        <a:lnTo>
                          <a:pt x="40" y="194"/>
                        </a:lnTo>
                        <a:lnTo>
                          <a:pt x="53" y="231"/>
                        </a:lnTo>
                        <a:lnTo>
                          <a:pt x="92" y="255"/>
                        </a:lnTo>
                        <a:lnTo>
                          <a:pt x="118" y="303"/>
                        </a:lnTo>
                        <a:lnTo>
                          <a:pt x="131" y="328"/>
                        </a:lnTo>
                        <a:lnTo>
                          <a:pt x="144" y="340"/>
                        </a:lnTo>
                        <a:lnTo>
                          <a:pt x="144" y="376"/>
                        </a:lnTo>
                        <a:lnTo>
                          <a:pt x="144" y="388"/>
                        </a:lnTo>
                        <a:lnTo>
                          <a:pt x="183" y="413"/>
                        </a:lnTo>
                        <a:lnTo>
                          <a:pt x="196" y="413"/>
                        </a:lnTo>
                        <a:lnTo>
                          <a:pt x="209" y="425"/>
                        </a:lnTo>
                        <a:lnTo>
                          <a:pt x="236" y="473"/>
                        </a:lnTo>
                        <a:lnTo>
                          <a:pt x="236" y="522"/>
                        </a:lnTo>
                        <a:lnTo>
                          <a:pt x="262" y="534"/>
                        </a:lnTo>
                        <a:lnTo>
                          <a:pt x="301" y="546"/>
                        </a:lnTo>
                        <a:lnTo>
                          <a:pt x="327" y="497"/>
                        </a:lnTo>
                        <a:lnTo>
                          <a:pt x="353" y="473"/>
                        </a:lnTo>
                        <a:lnTo>
                          <a:pt x="366" y="413"/>
                        </a:lnTo>
                        <a:lnTo>
                          <a:pt x="379" y="400"/>
                        </a:lnTo>
                        <a:lnTo>
                          <a:pt x="406" y="400"/>
                        </a:lnTo>
                        <a:lnTo>
                          <a:pt x="458" y="328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round/>
                        <a:headEnd type="none" w="sm" len="sm"/>
                        <a:tailEnd type="stealth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75" name="Freeform 71">
                    <a:extLst>
                      <a:ext uri="{FF2B5EF4-FFF2-40B4-BE49-F238E27FC236}">
                        <a16:creationId xmlns:a16="http://schemas.microsoft.com/office/drawing/2014/main" id="{0B2BD3AA-471D-4281-9D4B-8F4627F4DFD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743595" y="1609874"/>
                    <a:ext cx="735012" cy="785812"/>
                  </a:xfrm>
                  <a:custGeom>
                    <a:avLst/>
                    <a:gdLst>
                      <a:gd name="T0" fmla="*/ 693607 w 485"/>
                      <a:gd name="T1" fmla="*/ 471216 h 547"/>
                      <a:gd name="T2" fmla="*/ 654231 w 485"/>
                      <a:gd name="T3" fmla="*/ 400821 h 547"/>
                      <a:gd name="T4" fmla="*/ 673919 w 485"/>
                      <a:gd name="T5" fmla="*/ 314623 h 547"/>
                      <a:gd name="T6" fmla="*/ 732982 w 485"/>
                      <a:gd name="T7" fmla="*/ 244228 h 547"/>
                      <a:gd name="T8" fmla="*/ 732982 w 485"/>
                      <a:gd name="T9" fmla="*/ 175269 h 547"/>
                      <a:gd name="T10" fmla="*/ 673919 w 485"/>
                      <a:gd name="T11" fmla="*/ 139354 h 547"/>
                      <a:gd name="T12" fmla="*/ 713294 w 485"/>
                      <a:gd name="T13" fmla="*/ 70395 h 547"/>
                      <a:gd name="T14" fmla="*/ 673919 w 485"/>
                      <a:gd name="T15" fmla="*/ 0 h 547"/>
                      <a:gd name="T16" fmla="*/ 554279 w 485"/>
                      <a:gd name="T17" fmla="*/ 18676 h 547"/>
                      <a:gd name="T18" fmla="*/ 534592 w 485"/>
                      <a:gd name="T19" fmla="*/ 0 h 547"/>
                      <a:gd name="T20" fmla="*/ 514904 w 485"/>
                      <a:gd name="T21" fmla="*/ 35916 h 547"/>
                      <a:gd name="T22" fmla="*/ 495217 w 485"/>
                      <a:gd name="T23" fmla="*/ 70395 h 547"/>
                      <a:gd name="T24" fmla="*/ 455842 w 485"/>
                      <a:gd name="T25" fmla="*/ 104874 h 547"/>
                      <a:gd name="T26" fmla="*/ 357404 w 485"/>
                      <a:gd name="T27" fmla="*/ 87635 h 547"/>
                      <a:gd name="T28" fmla="*/ 357404 w 485"/>
                      <a:gd name="T29" fmla="*/ 104874 h 547"/>
                      <a:gd name="T30" fmla="*/ 316515 w 485"/>
                      <a:gd name="T31" fmla="*/ 156593 h 547"/>
                      <a:gd name="T32" fmla="*/ 296827 w 485"/>
                      <a:gd name="T33" fmla="*/ 175269 h 547"/>
                      <a:gd name="T34" fmla="*/ 257452 w 485"/>
                      <a:gd name="T35" fmla="*/ 209749 h 547"/>
                      <a:gd name="T36" fmla="*/ 198390 w 485"/>
                      <a:gd name="T37" fmla="*/ 192509 h 547"/>
                      <a:gd name="T38" fmla="*/ 139327 w 485"/>
                      <a:gd name="T39" fmla="*/ 156593 h 547"/>
                      <a:gd name="T40" fmla="*/ 39375 w 485"/>
                      <a:gd name="T41" fmla="*/ 156593 h 547"/>
                      <a:gd name="T42" fmla="*/ 39375 w 485"/>
                      <a:gd name="T43" fmla="*/ 175269 h 547"/>
                      <a:gd name="T44" fmla="*/ 0 w 485"/>
                      <a:gd name="T45" fmla="*/ 175269 h 547"/>
                      <a:gd name="T46" fmla="*/ 39375 w 485"/>
                      <a:gd name="T47" fmla="*/ 244228 h 547"/>
                      <a:gd name="T48" fmla="*/ 60577 w 485"/>
                      <a:gd name="T49" fmla="*/ 278707 h 547"/>
                      <a:gd name="T50" fmla="*/ 80265 w 485"/>
                      <a:gd name="T51" fmla="*/ 331863 h 547"/>
                      <a:gd name="T52" fmla="*/ 139327 w 485"/>
                      <a:gd name="T53" fmla="*/ 366342 h 547"/>
                      <a:gd name="T54" fmla="*/ 178702 w 485"/>
                      <a:gd name="T55" fmla="*/ 435300 h 547"/>
                      <a:gd name="T56" fmla="*/ 198390 w 485"/>
                      <a:gd name="T57" fmla="*/ 471216 h 547"/>
                      <a:gd name="T58" fmla="*/ 218077 w 485"/>
                      <a:gd name="T59" fmla="*/ 488456 h 547"/>
                      <a:gd name="T60" fmla="*/ 218077 w 485"/>
                      <a:gd name="T61" fmla="*/ 540175 h 547"/>
                      <a:gd name="T62" fmla="*/ 218077 w 485"/>
                      <a:gd name="T63" fmla="*/ 557414 h 547"/>
                      <a:gd name="T64" fmla="*/ 277140 w 485"/>
                      <a:gd name="T65" fmla="*/ 593330 h 547"/>
                      <a:gd name="T66" fmla="*/ 296827 w 485"/>
                      <a:gd name="T67" fmla="*/ 593330 h 547"/>
                      <a:gd name="T68" fmla="*/ 316515 w 485"/>
                      <a:gd name="T69" fmla="*/ 610570 h 547"/>
                      <a:gd name="T70" fmla="*/ 357404 w 485"/>
                      <a:gd name="T71" fmla="*/ 679528 h 547"/>
                      <a:gd name="T72" fmla="*/ 357404 w 485"/>
                      <a:gd name="T73" fmla="*/ 749923 h 547"/>
                      <a:gd name="T74" fmla="*/ 396779 w 485"/>
                      <a:gd name="T75" fmla="*/ 767163 h 547"/>
                      <a:gd name="T76" fmla="*/ 455842 w 485"/>
                      <a:gd name="T77" fmla="*/ 784402 h 547"/>
                      <a:gd name="T78" fmla="*/ 495217 w 485"/>
                      <a:gd name="T79" fmla="*/ 714007 h 547"/>
                      <a:gd name="T80" fmla="*/ 534592 w 485"/>
                      <a:gd name="T81" fmla="*/ 679528 h 547"/>
                      <a:gd name="T82" fmla="*/ 554279 w 485"/>
                      <a:gd name="T83" fmla="*/ 593330 h 547"/>
                      <a:gd name="T84" fmla="*/ 573967 w 485"/>
                      <a:gd name="T85" fmla="*/ 574654 h 547"/>
                      <a:gd name="T86" fmla="*/ 614856 w 485"/>
                      <a:gd name="T87" fmla="*/ 574654 h 547"/>
                      <a:gd name="T88" fmla="*/ 693607 w 485"/>
                      <a:gd name="T89" fmla="*/ 471216 h 547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</a:gdLst>
                    <a:ahLst/>
                    <a:cxnLst>
                      <a:cxn ang="T90">
                        <a:pos x="T0" y="T1"/>
                      </a:cxn>
                      <a:cxn ang="T91">
                        <a:pos x="T2" y="T3"/>
                      </a:cxn>
                      <a:cxn ang="T92">
                        <a:pos x="T4" y="T5"/>
                      </a:cxn>
                      <a:cxn ang="T93">
                        <a:pos x="T6" y="T7"/>
                      </a:cxn>
                      <a:cxn ang="T94">
                        <a:pos x="T8" y="T9"/>
                      </a:cxn>
                      <a:cxn ang="T95">
                        <a:pos x="T10" y="T11"/>
                      </a:cxn>
                      <a:cxn ang="T96">
                        <a:pos x="T12" y="T13"/>
                      </a:cxn>
                      <a:cxn ang="T97">
                        <a:pos x="T14" y="T15"/>
                      </a:cxn>
                      <a:cxn ang="T98">
                        <a:pos x="T16" y="T17"/>
                      </a:cxn>
                      <a:cxn ang="T99">
                        <a:pos x="T18" y="T19"/>
                      </a:cxn>
                      <a:cxn ang="T100">
                        <a:pos x="T20" y="T21"/>
                      </a:cxn>
                      <a:cxn ang="T101">
                        <a:pos x="T22" y="T23"/>
                      </a:cxn>
                      <a:cxn ang="T102">
                        <a:pos x="T24" y="T25"/>
                      </a:cxn>
                      <a:cxn ang="T103">
                        <a:pos x="T26" y="T27"/>
                      </a:cxn>
                      <a:cxn ang="T104">
                        <a:pos x="T28" y="T29"/>
                      </a:cxn>
                      <a:cxn ang="T105">
                        <a:pos x="T30" y="T31"/>
                      </a:cxn>
                      <a:cxn ang="T106">
                        <a:pos x="T32" y="T33"/>
                      </a:cxn>
                      <a:cxn ang="T107">
                        <a:pos x="T34" y="T35"/>
                      </a:cxn>
                      <a:cxn ang="T108">
                        <a:pos x="T36" y="T37"/>
                      </a:cxn>
                      <a:cxn ang="T109">
                        <a:pos x="T38" y="T39"/>
                      </a:cxn>
                      <a:cxn ang="T110">
                        <a:pos x="T40" y="T41"/>
                      </a:cxn>
                      <a:cxn ang="T111">
                        <a:pos x="T42" y="T43"/>
                      </a:cxn>
                      <a:cxn ang="T112">
                        <a:pos x="T44" y="T45"/>
                      </a:cxn>
                      <a:cxn ang="T113">
                        <a:pos x="T46" y="T47"/>
                      </a:cxn>
                      <a:cxn ang="T114">
                        <a:pos x="T48" y="T49"/>
                      </a:cxn>
                      <a:cxn ang="T115">
                        <a:pos x="T50" y="T51"/>
                      </a:cxn>
                      <a:cxn ang="T116">
                        <a:pos x="T52" y="T53"/>
                      </a:cxn>
                      <a:cxn ang="T117">
                        <a:pos x="T54" y="T55"/>
                      </a:cxn>
                      <a:cxn ang="T118">
                        <a:pos x="T56" y="T57"/>
                      </a:cxn>
                      <a:cxn ang="T119">
                        <a:pos x="T58" y="T59"/>
                      </a:cxn>
                      <a:cxn ang="T120">
                        <a:pos x="T60" y="T61"/>
                      </a:cxn>
                      <a:cxn ang="T121">
                        <a:pos x="T62" y="T63"/>
                      </a:cxn>
                      <a:cxn ang="T122">
                        <a:pos x="T64" y="T65"/>
                      </a:cxn>
                      <a:cxn ang="T123">
                        <a:pos x="T66" y="T67"/>
                      </a:cxn>
                      <a:cxn ang="T124">
                        <a:pos x="T68" y="T69"/>
                      </a:cxn>
                      <a:cxn ang="T125">
                        <a:pos x="T70" y="T71"/>
                      </a:cxn>
                      <a:cxn ang="T126">
                        <a:pos x="T72" y="T73"/>
                      </a:cxn>
                      <a:cxn ang="T127">
                        <a:pos x="T74" y="T75"/>
                      </a:cxn>
                      <a:cxn ang="T128">
                        <a:pos x="T76" y="T77"/>
                      </a:cxn>
                      <a:cxn ang="T129">
                        <a:pos x="T78" y="T79"/>
                      </a:cxn>
                      <a:cxn ang="T130">
                        <a:pos x="T80" y="T81"/>
                      </a:cxn>
                      <a:cxn ang="T131">
                        <a:pos x="T82" y="T83"/>
                      </a:cxn>
                      <a:cxn ang="T132">
                        <a:pos x="T84" y="T85"/>
                      </a:cxn>
                      <a:cxn ang="T133">
                        <a:pos x="T86" y="T87"/>
                      </a:cxn>
                      <a:cxn ang="T134">
                        <a:pos x="T88" y="T89"/>
                      </a:cxn>
                    </a:cxnLst>
                    <a:rect l="0" t="0" r="r" b="b"/>
                    <a:pathLst>
                      <a:path w="485" h="547">
                        <a:moveTo>
                          <a:pt x="458" y="328"/>
                        </a:moveTo>
                        <a:lnTo>
                          <a:pt x="432" y="279"/>
                        </a:lnTo>
                        <a:lnTo>
                          <a:pt x="445" y="219"/>
                        </a:lnTo>
                        <a:lnTo>
                          <a:pt x="484" y="170"/>
                        </a:lnTo>
                        <a:lnTo>
                          <a:pt x="484" y="122"/>
                        </a:lnTo>
                        <a:lnTo>
                          <a:pt x="445" y="97"/>
                        </a:lnTo>
                        <a:lnTo>
                          <a:pt x="471" y="49"/>
                        </a:lnTo>
                        <a:lnTo>
                          <a:pt x="445" y="0"/>
                        </a:lnTo>
                        <a:lnTo>
                          <a:pt x="366" y="13"/>
                        </a:lnTo>
                        <a:lnTo>
                          <a:pt x="353" y="0"/>
                        </a:lnTo>
                        <a:lnTo>
                          <a:pt x="340" y="25"/>
                        </a:lnTo>
                        <a:lnTo>
                          <a:pt x="327" y="49"/>
                        </a:lnTo>
                        <a:lnTo>
                          <a:pt x="301" y="73"/>
                        </a:lnTo>
                        <a:lnTo>
                          <a:pt x="236" y="61"/>
                        </a:lnTo>
                        <a:lnTo>
                          <a:pt x="236" y="73"/>
                        </a:lnTo>
                        <a:lnTo>
                          <a:pt x="209" y="109"/>
                        </a:lnTo>
                        <a:lnTo>
                          <a:pt x="196" y="122"/>
                        </a:lnTo>
                        <a:lnTo>
                          <a:pt x="170" y="146"/>
                        </a:lnTo>
                        <a:lnTo>
                          <a:pt x="131" y="134"/>
                        </a:lnTo>
                        <a:lnTo>
                          <a:pt x="92" y="109"/>
                        </a:lnTo>
                        <a:lnTo>
                          <a:pt x="26" y="109"/>
                        </a:lnTo>
                        <a:lnTo>
                          <a:pt x="26" y="122"/>
                        </a:lnTo>
                        <a:lnTo>
                          <a:pt x="0" y="122"/>
                        </a:lnTo>
                        <a:lnTo>
                          <a:pt x="26" y="170"/>
                        </a:lnTo>
                        <a:lnTo>
                          <a:pt x="40" y="194"/>
                        </a:lnTo>
                        <a:lnTo>
                          <a:pt x="53" y="231"/>
                        </a:lnTo>
                        <a:lnTo>
                          <a:pt x="92" y="255"/>
                        </a:lnTo>
                        <a:lnTo>
                          <a:pt x="118" y="303"/>
                        </a:lnTo>
                        <a:lnTo>
                          <a:pt x="131" y="328"/>
                        </a:lnTo>
                        <a:lnTo>
                          <a:pt x="144" y="340"/>
                        </a:lnTo>
                        <a:lnTo>
                          <a:pt x="144" y="376"/>
                        </a:lnTo>
                        <a:lnTo>
                          <a:pt x="144" y="388"/>
                        </a:lnTo>
                        <a:lnTo>
                          <a:pt x="183" y="413"/>
                        </a:lnTo>
                        <a:lnTo>
                          <a:pt x="196" y="413"/>
                        </a:lnTo>
                        <a:lnTo>
                          <a:pt x="209" y="425"/>
                        </a:lnTo>
                        <a:lnTo>
                          <a:pt x="236" y="473"/>
                        </a:lnTo>
                        <a:lnTo>
                          <a:pt x="236" y="522"/>
                        </a:lnTo>
                        <a:lnTo>
                          <a:pt x="262" y="534"/>
                        </a:lnTo>
                        <a:lnTo>
                          <a:pt x="301" y="546"/>
                        </a:lnTo>
                        <a:lnTo>
                          <a:pt x="327" y="497"/>
                        </a:lnTo>
                        <a:lnTo>
                          <a:pt x="353" y="473"/>
                        </a:lnTo>
                        <a:lnTo>
                          <a:pt x="366" y="413"/>
                        </a:lnTo>
                        <a:lnTo>
                          <a:pt x="379" y="400"/>
                        </a:lnTo>
                        <a:lnTo>
                          <a:pt x="406" y="400"/>
                        </a:lnTo>
                        <a:lnTo>
                          <a:pt x="458" y="328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76" name="Freeform 72">
                    <a:extLst>
                      <a:ext uri="{FF2B5EF4-FFF2-40B4-BE49-F238E27FC236}">
                        <a16:creationId xmlns:a16="http://schemas.microsoft.com/office/drawing/2014/main" id="{418390B6-ADF2-44A9-8550-89B1699B124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020070" y="2254399"/>
                    <a:ext cx="847725" cy="1136650"/>
                  </a:xfrm>
                  <a:custGeom>
                    <a:avLst/>
                    <a:gdLst>
                      <a:gd name="T0" fmla="*/ 256769 w 562"/>
                      <a:gd name="T1" fmla="*/ 0 h 789"/>
                      <a:gd name="T2" fmla="*/ 374581 w 562"/>
                      <a:gd name="T3" fmla="*/ 17300 h 789"/>
                      <a:gd name="T4" fmla="*/ 395726 w 562"/>
                      <a:gd name="T5" fmla="*/ 34599 h 789"/>
                      <a:gd name="T6" fmla="*/ 434997 w 562"/>
                      <a:gd name="T7" fmla="*/ 51899 h 789"/>
                      <a:gd name="T8" fmla="*/ 492392 w 562"/>
                      <a:gd name="T9" fmla="*/ 86498 h 789"/>
                      <a:gd name="T10" fmla="*/ 472757 w 562"/>
                      <a:gd name="T11" fmla="*/ 139839 h 789"/>
                      <a:gd name="T12" fmla="*/ 453122 w 562"/>
                      <a:gd name="T13" fmla="*/ 174438 h 789"/>
                      <a:gd name="T14" fmla="*/ 472757 w 562"/>
                      <a:gd name="T15" fmla="*/ 209038 h 789"/>
                      <a:gd name="T16" fmla="*/ 472757 w 562"/>
                      <a:gd name="T17" fmla="*/ 245079 h 789"/>
                      <a:gd name="T18" fmla="*/ 472757 w 562"/>
                      <a:gd name="T19" fmla="*/ 262378 h 789"/>
                      <a:gd name="T20" fmla="*/ 512028 w 562"/>
                      <a:gd name="T21" fmla="*/ 226337 h 789"/>
                      <a:gd name="T22" fmla="*/ 570933 w 562"/>
                      <a:gd name="T23" fmla="*/ 191738 h 789"/>
                      <a:gd name="T24" fmla="*/ 649474 w 562"/>
                      <a:gd name="T25" fmla="*/ 174438 h 789"/>
                      <a:gd name="T26" fmla="*/ 709891 w 562"/>
                      <a:gd name="T27" fmla="*/ 157139 h 789"/>
                      <a:gd name="T28" fmla="*/ 768796 w 562"/>
                      <a:gd name="T29" fmla="*/ 157139 h 789"/>
                      <a:gd name="T30" fmla="*/ 788432 w 562"/>
                      <a:gd name="T31" fmla="*/ 174438 h 789"/>
                      <a:gd name="T32" fmla="*/ 847338 w 562"/>
                      <a:gd name="T33" fmla="*/ 191738 h 789"/>
                      <a:gd name="T34" fmla="*/ 749161 w 562"/>
                      <a:gd name="T35" fmla="*/ 296978 h 789"/>
                      <a:gd name="T36" fmla="*/ 729526 w 562"/>
                      <a:gd name="T37" fmla="*/ 348877 h 789"/>
                      <a:gd name="T38" fmla="*/ 690255 w 562"/>
                      <a:gd name="T39" fmla="*/ 402218 h 789"/>
                      <a:gd name="T40" fmla="*/ 670620 w 562"/>
                      <a:gd name="T41" fmla="*/ 436817 h 789"/>
                      <a:gd name="T42" fmla="*/ 629839 w 562"/>
                      <a:gd name="T43" fmla="*/ 471416 h 789"/>
                      <a:gd name="T44" fmla="*/ 629839 w 562"/>
                      <a:gd name="T45" fmla="*/ 506016 h 789"/>
                      <a:gd name="T46" fmla="*/ 670620 w 562"/>
                      <a:gd name="T47" fmla="*/ 559356 h 789"/>
                      <a:gd name="T48" fmla="*/ 670620 w 562"/>
                      <a:gd name="T49" fmla="*/ 593956 h 789"/>
                      <a:gd name="T50" fmla="*/ 649474 w 562"/>
                      <a:gd name="T51" fmla="*/ 628555 h 789"/>
                      <a:gd name="T52" fmla="*/ 590569 w 562"/>
                      <a:gd name="T53" fmla="*/ 681896 h 789"/>
                      <a:gd name="T54" fmla="*/ 551298 w 562"/>
                      <a:gd name="T55" fmla="*/ 733795 h 789"/>
                      <a:gd name="T56" fmla="*/ 492392 w 562"/>
                      <a:gd name="T57" fmla="*/ 785694 h 789"/>
                      <a:gd name="T58" fmla="*/ 415362 w 562"/>
                      <a:gd name="T59" fmla="*/ 821735 h 789"/>
                      <a:gd name="T60" fmla="*/ 395726 w 562"/>
                      <a:gd name="T61" fmla="*/ 821735 h 789"/>
                      <a:gd name="T62" fmla="*/ 374581 w 562"/>
                      <a:gd name="T63" fmla="*/ 856334 h 789"/>
                      <a:gd name="T64" fmla="*/ 354945 w 562"/>
                      <a:gd name="T65" fmla="*/ 925533 h 789"/>
                      <a:gd name="T66" fmla="*/ 354945 w 562"/>
                      <a:gd name="T67" fmla="*/ 996173 h 789"/>
                      <a:gd name="T68" fmla="*/ 335310 w 562"/>
                      <a:gd name="T69" fmla="*/ 1065372 h 789"/>
                      <a:gd name="T70" fmla="*/ 315675 w 562"/>
                      <a:gd name="T71" fmla="*/ 1136012 h 789"/>
                      <a:gd name="T72" fmla="*/ 256769 w 562"/>
                      <a:gd name="T73" fmla="*/ 1118713 h 789"/>
                      <a:gd name="T74" fmla="*/ 197863 w 562"/>
                      <a:gd name="T75" fmla="*/ 1065372 h 789"/>
                      <a:gd name="T76" fmla="*/ 158593 w 562"/>
                      <a:gd name="T77" fmla="*/ 1013473 h 789"/>
                      <a:gd name="T78" fmla="*/ 178228 w 562"/>
                      <a:gd name="T79" fmla="*/ 908233 h 789"/>
                      <a:gd name="T80" fmla="*/ 178228 w 562"/>
                      <a:gd name="T81" fmla="*/ 873634 h 789"/>
                      <a:gd name="T82" fmla="*/ 158593 w 562"/>
                      <a:gd name="T83" fmla="*/ 856334 h 789"/>
                      <a:gd name="T84" fmla="*/ 138957 w 562"/>
                      <a:gd name="T85" fmla="*/ 821735 h 789"/>
                      <a:gd name="T86" fmla="*/ 138957 w 562"/>
                      <a:gd name="T87" fmla="*/ 785694 h 789"/>
                      <a:gd name="T88" fmla="*/ 138957 w 562"/>
                      <a:gd name="T89" fmla="*/ 751094 h 789"/>
                      <a:gd name="T90" fmla="*/ 117812 w 562"/>
                      <a:gd name="T91" fmla="*/ 716495 h 789"/>
                      <a:gd name="T92" fmla="*/ 98176 w 562"/>
                      <a:gd name="T93" fmla="*/ 663154 h 789"/>
                      <a:gd name="T94" fmla="*/ 78541 w 562"/>
                      <a:gd name="T95" fmla="*/ 628555 h 789"/>
                      <a:gd name="T96" fmla="*/ 58906 w 562"/>
                      <a:gd name="T97" fmla="*/ 611255 h 789"/>
                      <a:gd name="T98" fmla="*/ 39271 w 562"/>
                      <a:gd name="T99" fmla="*/ 576656 h 789"/>
                      <a:gd name="T100" fmla="*/ 19635 w 562"/>
                      <a:gd name="T101" fmla="*/ 542057 h 789"/>
                      <a:gd name="T102" fmla="*/ 0 w 562"/>
                      <a:gd name="T103" fmla="*/ 524757 h 789"/>
                      <a:gd name="T104" fmla="*/ 0 w 562"/>
                      <a:gd name="T105" fmla="*/ 488716 h 789"/>
                      <a:gd name="T106" fmla="*/ 39271 w 562"/>
                      <a:gd name="T107" fmla="*/ 454117 h 789"/>
                      <a:gd name="T108" fmla="*/ 98176 w 562"/>
                      <a:gd name="T109" fmla="*/ 419517 h 789"/>
                      <a:gd name="T110" fmla="*/ 98176 w 562"/>
                      <a:gd name="T111" fmla="*/ 348877 h 789"/>
                      <a:gd name="T112" fmla="*/ 117812 w 562"/>
                      <a:gd name="T113" fmla="*/ 296978 h 789"/>
                      <a:gd name="T114" fmla="*/ 158593 w 562"/>
                      <a:gd name="T115" fmla="*/ 209038 h 789"/>
                      <a:gd name="T116" fmla="*/ 197863 w 562"/>
                      <a:gd name="T117" fmla="*/ 191738 h 789"/>
                      <a:gd name="T118" fmla="*/ 197863 w 562"/>
                      <a:gd name="T119" fmla="*/ 122539 h 789"/>
                      <a:gd name="T120" fmla="*/ 256769 w 562"/>
                      <a:gd name="T121" fmla="*/ 0 h 789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</a:gdLst>
                    <a:ahLst/>
                    <a:cxnLst>
                      <a:cxn ang="T122">
                        <a:pos x="T0" y="T1"/>
                      </a:cxn>
                      <a:cxn ang="T123">
                        <a:pos x="T2" y="T3"/>
                      </a:cxn>
                      <a:cxn ang="T124">
                        <a:pos x="T4" y="T5"/>
                      </a:cxn>
                      <a:cxn ang="T125">
                        <a:pos x="T6" y="T7"/>
                      </a:cxn>
                      <a:cxn ang="T126">
                        <a:pos x="T8" y="T9"/>
                      </a:cxn>
                      <a:cxn ang="T127">
                        <a:pos x="T10" y="T11"/>
                      </a:cxn>
                      <a:cxn ang="T128">
                        <a:pos x="T12" y="T13"/>
                      </a:cxn>
                      <a:cxn ang="T129">
                        <a:pos x="T14" y="T15"/>
                      </a:cxn>
                      <a:cxn ang="T130">
                        <a:pos x="T16" y="T17"/>
                      </a:cxn>
                      <a:cxn ang="T131">
                        <a:pos x="T18" y="T19"/>
                      </a:cxn>
                      <a:cxn ang="T132">
                        <a:pos x="T20" y="T21"/>
                      </a:cxn>
                      <a:cxn ang="T133">
                        <a:pos x="T22" y="T23"/>
                      </a:cxn>
                      <a:cxn ang="T134">
                        <a:pos x="T24" y="T25"/>
                      </a:cxn>
                      <a:cxn ang="T135">
                        <a:pos x="T26" y="T27"/>
                      </a:cxn>
                      <a:cxn ang="T136">
                        <a:pos x="T28" y="T29"/>
                      </a:cxn>
                      <a:cxn ang="T137">
                        <a:pos x="T30" y="T31"/>
                      </a:cxn>
                      <a:cxn ang="T138">
                        <a:pos x="T32" y="T33"/>
                      </a:cxn>
                      <a:cxn ang="T139">
                        <a:pos x="T34" y="T35"/>
                      </a:cxn>
                      <a:cxn ang="T140">
                        <a:pos x="T36" y="T37"/>
                      </a:cxn>
                      <a:cxn ang="T141">
                        <a:pos x="T38" y="T39"/>
                      </a:cxn>
                      <a:cxn ang="T142">
                        <a:pos x="T40" y="T41"/>
                      </a:cxn>
                      <a:cxn ang="T143">
                        <a:pos x="T42" y="T43"/>
                      </a:cxn>
                      <a:cxn ang="T144">
                        <a:pos x="T44" y="T45"/>
                      </a:cxn>
                      <a:cxn ang="T145">
                        <a:pos x="T46" y="T47"/>
                      </a:cxn>
                      <a:cxn ang="T146">
                        <a:pos x="T48" y="T49"/>
                      </a:cxn>
                      <a:cxn ang="T147">
                        <a:pos x="T50" y="T51"/>
                      </a:cxn>
                      <a:cxn ang="T148">
                        <a:pos x="T52" y="T53"/>
                      </a:cxn>
                      <a:cxn ang="T149">
                        <a:pos x="T54" y="T55"/>
                      </a:cxn>
                      <a:cxn ang="T150">
                        <a:pos x="T56" y="T57"/>
                      </a:cxn>
                      <a:cxn ang="T151">
                        <a:pos x="T58" y="T59"/>
                      </a:cxn>
                      <a:cxn ang="T152">
                        <a:pos x="T60" y="T61"/>
                      </a:cxn>
                      <a:cxn ang="T153">
                        <a:pos x="T62" y="T63"/>
                      </a:cxn>
                      <a:cxn ang="T154">
                        <a:pos x="T64" y="T65"/>
                      </a:cxn>
                      <a:cxn ang="T155">
                        <a:pos x="T66" y="T67"/>
                      </a:cxn>
                      <a:cxn ang="T156">
                        <a:pos x="T68" y="T69"/>
                      </a:cxn>
                      <a:cxn ang="T157">
                        <a:pos x="T70" y="T71"/>
                      </a:cxn>
                      <a:cxn ang="T158">
                        <a:pos x="T72" y="T73"/>
                      </a:cxn>
                      <a:cxn ang="T159">
                        <a:pos x="T74" y="T75"/>
                      </a:cxn>
                      <a:cxn ang="T160">
                        <a:pos x="T76" y="T77"/>
                      </a:cxn>
                      <a:cxn ang="T161">
                        <a:pos x="T78" y="T79"/>
                      </a:cxn>
                      <a:cxn ang="T162">
                        <a:pos x="T80" y="T81"/>
                      </a:cxn>
                      <a:cxn ang="T163">
                        <a:pos x="T82" y="T83"/>
                      </a:cxn>
                      <a:cxn ang="T164">
                        <a:pos x="T84" y="T85"/>
                      </a:cxn>
                      <a:cxn ang="T165">
                        <a:pos x="T86" y="T87"/>
                      </a:cxn>
                      <a:cxn ang="T166">
                        <a:pos x="T88" y="T89"/>
                      </a:cxn>
                      <a:cxn ang="T167">
                        <a:pos x="T90" y="T91"/>
                      </a:cxn>
                      <a:cxn ang="T168">
                        <a:pos x="T92" y="T93"/>
                      </a:cxn>
                      <a:cxn ang="T169">
                        <a:pos x="T94" y="T95"/>
                      </a:cxn>
                      <a:cxn ang="T170">
                        <a:pos x="T96" y="T97"/>
                      </a:cxn>
                      <a:cxn ang="T171">
                        <a:pos x="T98" y="T99"/>
                      </a:cxn>
                      <a:cxn ang="T172">
                        <a:pos x="T100" y="T101"/>
                      </a:cxn>
                      <a:cxn ang="T173">
                        <a:pos x="T102" y="T103"/>
                      </a:cxn>
                      <a:cxn ang="T174">
                        <a:pos x="T104" y="T105"/>
                      </a:cxn>
                      <a:cxn ang="T175">
                        <a:pos x="T106" y="T107"/>
                      </a:cxn>
                      <a:cxn ang="T176">
                        <a:pos x="T108" y="T109"/>
                      </a:cxn>
                      <a:cxn ang="T177">
                        <a:pos x="T110" y="T111"/>
                      </a:cxn>
                      <a:cxn ang="T178">
                        <a:pos x="T112" y="T113"/>
                      </a:cxn>
                      <a:cxn ang="T179">
                        <a:pos x="T114" y="T115"/>
                      </a:cxn>
                      <a:cxn ang="T180">
                        <a:pos x="T116" y="T117"/>
                      </a:cxn>
                      <a:cxn ang="T181">
                        <a:pos x="T118" y="T119"/>
                      </a:cxn>
                      <a:cxn ang="T182">
                        <a:pos x="T120" y="T121"/>
                      </a:cxn>
                    </a:cxnLst>
                    <a:rect l="0" t="0" r="r" b="b"/>
                    <a:pathLst>
                      <a:path w="562" h="789">
                        <a:moveTo>
                          <a:pt x="170" y="0"/>
                        </a:moveTo>
                        <a:lnTo>
                          <a:pt x="248" y="12"/>
                        </a:lnTo>
                        <a:lnTo>
                          <a:pt x="262" y="24"/>
                        </a:lnTo>
                        <a:lnTo>
                          <a:pt x="288" y="36"/>
                        </a:lnTo>
                        <a:lnTo>
                          <a:pt x="326" y="60"/>
                        </a:lnTo>
                        <a:lnTo>
                          <a:pt x="313" y="97"/>
                        </a:lnTo>
                        <a:lnTo>
                          <a:pt x="300" y="121"/>
                        </a:lnTo>
                        <a:lnTo>
                          <a:pt x="313" y="145"/>
                        </a:lnTo>
                        <a:lnTo>
                          <a:pt x="313" y="170"/>
                        </a:lnTo>
                        <a:lnTo>
                          <a:pt x="313" y="182"/>
                        </a:lnTo>
                        <a:lnTo>
                          <a:pt x="339" y="157"/>
                        </a:lnTo>
                        <a:lnTo>
                          <a:pt x="378" y="133"/>
                        </a:lnTo>
                        <a:lnTo>
                          <a:pt x="430" y="121"/>
                        </a:lnTo>
                        <a:lnTo>
                          <a:pt x="470" y="109"/>
                        </a:lnTo>
                        <a:lnTo>
                          <a:pt x="509" y="109"/>
                        </a:lnTo>
                        <a:lnTo>
                          <a:pt x="522" y="121"/>
                        </a:lnTo>
                        <a:lnTo>
                          <a:pt x="561" y="133"/>
                        </a:lnTo>
                        <a:lnTo>
                          <a:pt x="496" y="206"/>
                        </a:lnTo>
                        <a:lnTo>
                          <a:pt x="483" y="242"/>
                        </a:lnTo>
                        <a:lnTo>
                          <a:pt x="457" y="279"/>
                        </a:lnTo>
                        <a:lnTo>
                          <a:pt x="444" y="303"/>
                        </a:lnTo>
                        <a:lnTo>
                          <a:pt x="417" y="327"/>
                        </a:lnTo>
                        <a:lnTo>
                          <a:pt x="417" y="351"/>
                        </a:lnTo>
                        <a:lnTo>
                          <a:pt x="444" y="388"/>
                        </a:lnTo>
                        <a:lnTo>
                          <a:pt x="444" y="412"/>
                        </a:lnTo>
                        <a:lnTo>
                          <a:pt x="430" y="436"/>
                        </a:lnTo>
                        <a:lnTo>
                          <a:pt x="391" y="473"/>
                        </a:lnTo>
                        <a:lnTo>
                          <a:pt x="365" y="509"/>
                        </a:lnTo>
                        <a:lnTo>
                          <a:pt x="326" y="545"/>
                        </a:lnTo>
                        <a:lnTo>
                          <a:pt x="275" y="570"/>
                        </a:lnTo>
                        <a:lnTo>
                          <a:pt x="262" y="570"/>
                        </a:lnTo>
                        <a:lnTo>
                          <a:pt x="248" y="594"/>
                        </a:lnTo>
                        <a:lnTo>
                          <a:pt x="235" y="642"/>
                        </a:lnTo>
                        <a:lnTo>
                          <a:pt x="235" y="691"/>
                        </a:lnTo>
                        <a:lnTo>
                          <a:pt x="222" y="739"/>
                        </a:lnTo>
                        <a:lnTo>
                          <a:pt x="209" y="788"/>
                        </a:lnTo>
                        <a:lnTo>
                          <a:pt x="170" y="776"/>
                        </a:lnTo>
                        <a:lnTo>
                          <a:pt x="131" y="739"/>
                        </a:lnTo>
                        <a:lnTo>
                          <a:pt x="105" y="703"/>
                        </a:lnTo>
                        <a:lnTo>
                          <a:pt x="118" y="630"/>
                        </a:lnTo>
                        <a:lnTo>
                          <a:pt x="118" y="606"/>
                        </a:lnTo>
                        <a:lnTo>
                          <a:pt x="105" y="594"/>
                        </a:lnTo>
                        <a:lnTo>
                          <a:pt x="92" y="570"/>
                        </a:lnTo>
                        <a:lnTo>
                          <a:pt x="92" y="545"/>
                        </a:lnTo>
                        <a:lnTo>
                          <a:pt x="92" y="521"/>
                        </a:lnTo>
                        <a:lnTo>
                          <a:pt x="78" y="497"/>
                        </a:lnTo>
                        <a:lnTo>
                          <a:pt x="65" y="460"/>
                        </a:lnTo>
                        <a:lnTo>
                          <a:pt x="52" y="436"/>
                        </a:lnTo>
                        <a:lnTo>
                          <a:pt x="39" y="424"/>
                        </a:lnTo>
                        <a:lnTo>
                          <a:pt x="26" y="400"/>
                        </a:lnTo>
                        <a:lnTo>
                          <a:pt x="13" y="376"/>
                        </a:lnTo>
                        <a:lnTo>
                          <a:pt x="0" y="364"/>
                        </a:lnTo>
                        <a:lnTo>
                          <a:pt x="0" y="339"/>
                        </a:lnTo>
                        <a:lnTo>
                          <a:pt x="26" y="315"/>
                        </a:lnTo>
                        <a:lnTo>
                          <a:pt x="65" y="291"/>
                        </a:lnTo>
                        <a:lnTo>
                          <a:pt x="65" y="242"/>
                        </a:lnTo>
                        <a:lnTo>
                          <a:pt x="78" y="206"/>
                        </a:lnTo>
                        <a:lnTo>
                          <a:pt x="105" y="145"/>
                        </a:lnTo>
                        <a:lnTo>
                          <a:pt x="131" y="133"/>
                        </a:lnTo>
                        <a:lnTo>
                          <a:pt x="131" y="85"/>
                        </a:lnTo>
                        <a:lnTo>
                          <a:pt x="170" y="0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round/>
                        <a:headEnd type="none" w="sm" len="sm"/>
                        <a:tailEnd type="stealth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77" name="Freeform 73">
                    <a:extLst>
                      <a:ext uri="{FF2B5EF4-FFF2-40B4-BE49-F238E27FC236}">
                        <a16:creationId xmlns:a16="http://schemas.microsoft.com/office/drawing/2014/main" id="{85944DB7-B6A4-44CA-9845-C6C3B27EF30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020070" y="2254399"/>
                    <a:ext cx="847725" cy="1136650"/>
                  </a:xfrm>
                  <a:custGeom>
                    <a:avLst/>
                    <a:gdLst>
                      <a:gd name="T0" fmla="*/ 256769 w 562"/>
                      <a:gd name="T1" fmla="*/ 0 h 789"/>
                      <a:gd name="T2" fmla="*/ 374581 w 562"/>
                      <a:gd name="T3" fmla="*/ 17300 h 789"/>
                      <a:gd name="T4" fmla="*/ 395726 w 562"/>
                      <a:gd name="T5" fmla="*/ 34599 h 789"/>
                      <a:gd name="T6" fmla="*/ 434997 w 562"/>
                      <a:gd name="T7" fmla="*/ 51899 h 789"/>
                      <a:gd name="T8" fmla="*/ 492392 w 562"/>
                      <a:gd name="T9" fmla="*/ 86498 h 789"/>
                      <a:gd name="T10" fmla="*/ 472757 w 562"/>
                      <a:gd name="T11" fmla="*/ 139839 h 789"/>
                      <a:gd name="T12" fmla="*/ 453122 w 562"/>
                      <a:gd name="T13" fmla="*/ 174438 h 789"/>
                      <a:gd name="T14" fmla="*/ 472757 w 562"/>
                      <a:gd name="T15" fmla="*/ 209038 h 789"/>
                      <a:gd name="T16" fmla="*/ 472757 w 562"/>
                      <a:gd name="T17" fmla="*/ 245079 h 789"/>
                      <a:gd name="T18" fmla="*/ 472757 w 562"/>
                      <a:gd name="T19" fmla="*/ 262378 h 789"/>
                      <a:gd name="T20" fmla="*/ 512028 w 562"/>
                      <a:gd name="T21" fmla="*/ 226337 h 789"/>
                      <a:gd name="T22" fmla="*/ 570933 w 562"/>
                      <a:gd name="T23" fmla="*/ 191738 h 789"/>
                      <a:gd name="T24" fmla="*/ 649474 w 562"/>
                      <a:gd name="T25" fmla="*/ 174438 h 789"/>
                      <a:gd name="T26" fmla="*/ 709891 w 562"/>
                      <a:gd name="T27" fmla="*/ 157139 h 789"/>
                      <a:gd name="T28" fmla="*/ 768796 w 562"/>
                      <a:gd name="T29" fmla="*/ 157139 h 789"/>
                      <a:gd name="T30" fmla="*/ 788432 w 562"/>
                      <a:gd name="T31" fmla="*/ 174438 h 789"/>
                      <a:gd name="T32" fmla="*/ 847338 w 562"/>
                      <a:gd name="T33" fmla="*/ 191738 h 789"/>
                      <a:gd name="T34" fmla="*/ 749161 w 562"/>
                      <a:gd name="T35" fmla="*/ 296978 h 789"/>
                      <a:gd name="T36" fmla="*/ 729526 w 562"/>
                      <a:gd name="T37" fmla="*/ 348877 h 789"/>
                      <a:gd name="T38" fmla="*/ 690255 w 562"/>
                      <a:gd name="T39" fmla="*/ 402218 h 789"/>
                      <a:gd name="T40" fmla="*/ 670620 w 562"/>
                      <a:gd name="T41" fmla="*/ 436817 h 789"/>
                      <a:gd name="T42" fmla="*/ 629839 w 562"/>
                      <a:gd name="T43" fmla="*/ 471416 h 789"/>
                      <a:gd name="T44" fmla="*/ 629839 w 562"/>
                      <a:gd name="T45" fmla="*/ 506016 h 789"/>
                      <a:gd name="T46" fmla="*/ 670620 w 562"/>
                      <a:gd name="T47" fmla="*/ 559356 h 789"/>
                      <a:gd name="T48" fmla="*/ 670620 w 562"/>
                      <a:gd name="T49" fmla="*/ 593956 h 789"/>
                      <a:gd name="T50" fmla="*/ 649474 w 562"/>
                      <a:gd name="T51" fmla="*/ 628555 h 789"/>
                      <a:gd name="T52" fmla="*/ 590569 w 562"/>
                      <a:gd name="T53" fmla="*/ 681896 h 789"/>
                      <a:gd name="T54" fmla="*/ 551298 w 562"/>
                      <a:gd name="T55" fmla="*/ 733795 h 789"/>
                      <a:gd name="T56" fmla="*/ 492392 w 562"/>
                      <a:gd name="T57" fmla="*/ 785694 h 789"/>
                      <a:gd name="T58" fmla="*/ 415362 w 562"/>
                      <a:gd name="T59" fmla="*/ 821735 h 789"/>
                      <a:gd name="T60" fmla="*/ 395726 w 562"/>
                      <a:gd name="T61" fmla="*/ 821735 h 789"/>
                      <a:gd name="T62" fmla="*/ 374581 w 562"/>
                      <a:gd name="T63" fmla="*/ 856334 h 789"/>
                      <a:gd name="T64" fmla="*/ 354945 w 562"/>
                      <a:gd name="T65" fmla="*/ 925533 h 789"/>
                      <a:gd name="T66" fmla="*/ 354945 w 562"/>
                      <a:gd name="T67" fmla="*/ 996173 h 789"/>
                      <a:gd name="T68" fmla="*/ 335310 w 562"/>
                      <a:gd name="T69" fmla="*/ 1065372 h 789"/>
                      <a:gd name="T70" fmla="*/ 315675 w 562"/>
                      <a:gd name="T71" fmla="*/ 1136012 h 789"/>
                      <a:gd name="T72" fmla="*/ 256769 w 562"/>
                      <a:gd name="T73" fmla="*/ 1118713 h 789"/>
                      <a:gd name="T74" fmla="*/ 197863 w 562"/>
                      <a:gd name="T75" fmla="*/ 1065372 h 789"/>
                      <a:gd name="T76" fmla="*/ 158593 w 562"/>
                      <a:gd name="T77" fmla="*/ 1013473 h 789"/>
                      <a:gd name="T78" fmla="*/ 178228 w 562"/>
                      <a:gd name="T79" fmla="*/ 908233 h 789"/>
                      <a:gd name="T80" fmla="*/ 178228 w 562"/>
                      <a:gd name="T81" fmla="*/ 873634 h 789"/>
                      <a:gd name="T82" fmla="*/ 158593 w 562"/>
                      <a:gd name="T83" fmla="*/ 856334 h 789"/>
                      <a:gd name="T84" fmla="*/ 138957 w 562"/>
                      <a:gd name="T85" fmla="*/ 821735 h 789"/>
                      <a:gd name="T86" fmla="*/ 138957 w 562"/>
                      <a:gd name="T87" fmla="*/ 785694 h 789"/>
                      <a:gd name="T88" fmla="*/ 138957 w 562"/>
                      <a:gd name="T89" fmla="*/ 751094 h 789"/>
                      <a:gd name="T90" fmla="*/ 117812 w 562"/>
                      <a:gd name="T91" fmla="*/ 716495 h 789"/>
                      <a:gd name="T92" fmla="*/ 98176 w 562"/>
                      <a:gd name="T93" fmla="*/ 663154 h 789"/>
                      <a:gd name="T94" fmla="*/ 78541 w 562"/>
                      <a:gd name="T95" fmla="*/ 628555 h 789"/>
                      <a:gd name="T96" fmla="*/ 58906 w 562"/>
                      <a:gd name="T97" fmla="*/ 611255 h 789"/>
                      <a:gd name="T98" fmla="*/ 39271 w 562"/>
                      <a:gd name="T99" fmla="*/ 576656 h 789"/>
                      <a:gd name="T100" fmla="*/ 19635 w 562"/>
                      <a:gd name="T101" fmla="*/ 542057 h 789"/>
                      <a:gd name="T102" fmla="*/ 0 w 562"/>
                      <a:gd name="T103" fmla="*/ 524757 h 789"/>
                      <a:gd name="T104" fmla="*/ 0 w 562"/>
                      <a:gd name="T105" fmla="*/ 488716 h 789"/>
                      <a:gd name="T106" fmla="*/ 39271 w 562"/>
                      <a:gd name="T107" fmla="*/ 454117 h 789"/>
                      <a:gd name="T108" fmla="*/ 98176 w 562"/>
                      <a:gd name="T109" fmla="*/ 419517 h 789"/>
                      <a:gd name="T110" fmla="*/ 98176 w 562"/>
                      <a:gd name="T111" fmla="*/ 348877 h 789"/>
                      <a:gd name="T112" fmla="*/ 117812 w 562"/>
                      <a:gd name="T113" fmla="*/ 296978 h 789"/>
                      <a:gd name="T114" fmla="*/ 158593 w 562"/>
                      <a:gd name="T115" fmla="*/ 209038 h 789"/>
                      <a:gd name="T116" fmla="*/ 197863 w 562"/>
                      <a:gd name="T117" fmla="*/ 191738 h 789"/>
                      <a:gd name="T118" fmla="*/ 197863 w 562"/>
                      <a:gd name="T119" fmla="*/ 122539 h 789"/>
                      <a:gd name="T120" fmla="*/ 256769 w 562"/>
                      <a:gd name="T121" fmla="*/ 0 h 789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</a:gdLst>
                    <a:ahLst/>
                    <a:cxnLst>
                      <a:cxn ang="T122">
                        <a:pos x="T0" y="T1"/>
                      </a:cxn>
                      <a:cxn ang="T123">
                        <a:pos x="T2" y="T3"/>
                      </a:cxn>
                      <a:cxn ang="T124">
                        <a:pos x="T4" y="T5"/>
                      </a:cxn>
                      <a:cxn ang="T125">
                        <a:pos x="T6" y="T7"/>
                      </a:cxn>
                      <a:cxn ang="T126">
                        <a:pos x="T8" y="T9"/>
                      </a:cxn>
                      <a:cxn ang="T127">
                        <a:pos x="T10" y="T11"/>
                      </a:cxn>
                      <a:cxn ang="T128">
                        <a:pos x="T12" y="T13"/>
                      </a:cxn>
                      <a:cxn ang="T129">
                        <a:pos x="T14" y="T15"/>
                      </a:cxn>
                      <a:cxn ang="T130">
                        <a:pos x="T16" y="T17"/>
                      </a:cxn>
                      <a:cxn ang="T131">
                        <a:pos x="T18" y="T19"/>
                      </a:cxn>
                      <a:cxn ang="T132">
                        <a:pos x="T20" y="T21"/>
                      </a:cxn>
                      <a:cxn ang="T133">
                        <a:pos x="T22" y="T23"/>
                      </a:cxn>
                      <a:cxn ang="T134">
                        <a:pos x="T24" y="T25"/>
                      </a:cxn>
                      <a:cxn ang="T135">
                        <a:pos x="T26" y="T27"/>
                      </a:cxn>
                      <a:cxn ang="T136">
                        <a:pos x="T28" y="T29"/>
                      </a:cxn>
                      <a:cxn ang="T137">
                        <a:pos x="T30" y="T31"/>
                      </a:cxn>
                      <a:cxn ang="T138">
                        <a:pos x="T32" y="T33"/>
                      </a:cxn>
                      <a:cxn ang="T139">
                        <a:pos x="T34" y="T35"/>
                      </a:cxn>
                      <a:cxn ang="T140">
                        <a:pos x="T36" y="T37"/>
                      </a:cxn>
                      <a:cxn ang="T141">
                        <a:pos x="T38" y="T39"/>
                      </a:cxn>
                      <a:cxn ang="T142">
                        <a:pos x="T40" y="T41"/>
                      </a:cxn>
                      <a:cxn ang="T143">
                        <a:pos x="T42" y="T43"/>
                      </a:cxn>
                      <a:cxn ang="T144">
                        <a:pos x="T44" y="T45"/>
                      </a:cxn>
                      <a:cxn ang="T145">
                        <a:pos x="T46" y="T47"/>
                      </a:cxn>
                      <a:cxn ang="T146">
                        <a:pos x="T48" y="T49"/>
                      </a:cxn>
                      <a:cxn ang="T147">
                        <a:pos x="T50" y="T51"/>
                      </a:cxn>
                      <a:cxn ang="T148">
                        <a:pos x="T52" y="T53"/>
                      </a:cxn>
                      <a:cxn ang="T149">
                        <a:pos x="T54" y="T55"/>
                      </a:cxn>
                      <a:cxn ang="T150">
                        <a:pos x="T56" y="T57"/>
                      </a:cxn>
                      <a:cxn ang="T151">
                        <a:pos x="T58" y="T59"/>
                      </a:cxn>
                      <a:cxn ang="T152">
                        <a:pos x="T60" y="T61"/>
                      </a:cxn>
                      <a:cxn ang="T153">
                        <a:pos x="T62" y="T63"/>
                      </a:cxn>
                      <a:cxn ang="T154">
                        <a:pos x="T64" y="T65"/>
                      </a:cxn>
                      <a:cxn ang="T155">
                        <a:pos x="T66" y="T67"/>
                      </a:cxn>
                      <a:cxn ang="T156">
                        <a:pos x="T68" y="T69"/>
                      </a:cxn>
                      <a:cxn ang="T157">
                        <a:pos x="T70" y="T71"/>
                      </a:cxn>
                      <a:cxn ang="T158">
                        <a:pos x="T72" y="T73"/>
                      </a:cxn>
                      <a:cxn ang="T159">
                        <a:pos x="T74" y="T75"/>
                      </a:cxn>
                      <a:cxn ang="T160">
                        <a:pos x="T76" y="T77"/>
                      </a:cxn>
                      <a:cxn ang="T161">
                        <a:pos x="T78" y="T79"/>
                      </a:cxn>
                      <a:cxn ang="T162">
                        <a:pos x="T80" y="T81"/>
                      </a:cxn>
                      <a:cxn ang="T163">
                        <a:pos x="T82" y="T83"/>
                      </a:cxn>
                      <a:cxn ang="T164">
                        <a:pos x="T84" y="T85"/>
                      </a:cxn>
                      <a:cxn ang="T165">
                        <a:pos x="T86" y="T87"/>
                      </a:cxn>
                      <a:cxn ang="T166">
                        <a:pos x="T88" y="T89"/>
                      </a:cxn>
                      <a:cxn ang="T167">
                        <a:pos x="T90" y="T91"/>
                      </a:cxn>
                      <a:cxn ang="T168">
                        <a:pos x="T92" y="T93"/>
                      </a:cxn>
                      <a:cxn ang="T169">
                        <a:pos x="T94" y="T95"/>
                      </a:cxn>
                      <a:cxn ang="T170">
                        <a:pos x="T96" y="T97"/>
                      </a:cxn>
                      <a:cxn ang="T171">
                        <a:pos x="T98" y="T99"/>
                      </a:cxn>
                      <a:cxn ang="T172">
                        <a:pos x="T100" y="T101"/>
                      </a:cxn>
                      <a:cxn ang="T173">
                        <a:pos x="T102" y="T103"/>
                      </a:cxn>
                      <a:cxn ang="T174">
                        <a:pos x="T104" y="T105"/>
                      </a:cxn>
                      <a:cxn ang="T175">
                        <a:pos x="T106" y="T107"/>
                      </a:cxn>
                      <a:cxn ang="T176">
                        <a:pos x="T108" y="T109"/>
                      </a:cxn>
                      <a:cxn ang="T177">
                        <a:pos x="T110" y="T111"/>
                      </a:cxn>
                      <a:cxn ang="T178">
                        <a:pos x="T112" y="T113"/>
                      </a:cxn>
                      <a:cxn ang="T179">
                        <a:pos x="T114" y="T115"/>
                      </a:cxn>
                      <a:cxn ang="T180">
                        <a:pos x="T116" y="T117"/>
                      </a:cxn>
                      <a:cxn ang="T181">
                        <a:pos x="T118" y="T119"/>
                      </a:cxn>
                      <a:cxn ang="T182">
                        <a:pos x="T120" y="T121"/>
                      </a:cxn>
                    </a:cxnLst>
                    <a:rect l="0" t="0" r="r" b="b"/>
                    <a:pathLst>
                      <a:path w="562" h="789">
                        <a:moveTo>
                          <a:pt x="170" y="0"/>
                        </a:moveTo>
                        <a:lnTo>
                          <a:pt x="248" y="12"/>
                        </a:lnTo>
                        <a:lnTo>
                          <a:pt x="262" y="24"/>
                        </a:lnTo>
                        <a:lnTo>
                          <a:pt x="288" y="36"/>
                        </a:lnTo>
                        <a:lnTo>
                          <a:pt x="326" y="60"/>
                        </a:lnTo>
                        <a:lnTo>
                          <a:pt x="313" y="97"/>
                        </a:lnTo>
                        <a:lnTo>
                          <a:pt x="300" y="121"/>
                        </a:lnTo>
                        <a:lnTo>
                          <a:pt x="313" y="145"/>
                        </a:lnTo>
                        <a:lnTo>
                          <a:pt x="313" y="170"/>
                        </a:lnTo>
                        <a:lnTo>
                          <a:pt x="313" y="182"/>
                        </a:lnTo>
                        <a:lnTo>
                          <a:pt x="339" y="157"/>
                        </a:lnTo>
                        <a:lnTo>
                          <a:pt x="378" y="133"/>
                        </a:lnTo>
                        <a:lnTo>
                          <a:pt x="430" y="121"/>
                        </a:lnTo>
                        <a:lnTo>
                          <a:pt x="470" y="109"/>
                        </a:lnTo>
                        <a:lnTo>
                          <a:pt x="509" y="109"/>
                        </a:lnTo>
                        <a:lnTo>
                          <a:pt x="522" y="121"/>
                        </a:lnTo>
                        <a:lnTo>
                          <a:pt x="561" y="133"/>
                        </a:lnTo>
                        <a:lnTo>
                          <a:pt x="496" y="206"/>
                        </a:lnTo>
                        <a:lnTo>
                          <a:pt x="483" y="242"/>
                        </a:lnTo>
                        <a:lnTo>
                          <a:pt x="457" y="279"/>
                        </a:lnTo>
                        <a:lnTo>
                          <a:pt x="444" y="303"/>
                        </a:lnTo>
                        <a:lnTo>
                          <a:pt x="417" y="327"/>
                        </a:lnTo>
                        <a:lnTo>
                          <a:pt x="417" y="351"/>
                        </a:lnTo>
                        <a:lnTo>
                          <a:pt x="444" y="388"/>
                        </a:lnTo>
                        <a:lnTo>
                          <a:pt x="444" y="412"/>
                        </a:lnTo>
                        <a:lnTo>
                          <a:pt x="430" y="436"/>
                        </a:lnTo>
                        <a:lnTo>
                          <a:pt x="391" y="473"/>
                        </a:lnTo>
                        <a:lnTo>
                          <a:pt x="365" y="509"/>
                        </a:lnTo>
                        <a:lnTo>
                          <a:pt x="326" y="545"/>
                        </a:lnTo>
                        <a:lnTo>
                          <a:pt x="275" y="570"/>
                        </a:lnTo>
                        <a:lnTo>
                          <a:pt x="262" y="570"/>
                        </a:lnTo>
                        <a:lnTo>
                          <a:pt x="248" y="594"/>
                        </a:lnTo>
                        <a:lnTo>
                          <a:pt x="235" y="642"/>
                        </a:lnTo>
                        <a:lnTo>
                          <a:pt x="235" y="691"/>
                        </a:lnTo>
                        <a:lnTo>
                          <a:pt x="222" y="739"/>
                        </a:lnTo>
                        <a:lnTo>
                          <a:pt x="209" y="788"/>
                        </a:lnTo>
                        <a:lnTo>
                          <a:pt x="170" y="776"/>
                        </a:lnTo>
                        <a:lnTo>
                          <a:pt x="131" y="739"/>
                        </a:lnTo>
                        <a:lnTo>
                          <a:pt x="105" y="703"/>
                        </a:lnTo>
                        <a:lnTo>
                          <a:pt x="118" y="630"/>
                        </a:lnTo>
                        <a:lnTo>
                          <a:pt x="118" y="606"/>
                        </a:lnTo>
                        <a:lnTo>
                          <a:pt x="105" y="594"/>
                        </a:lnTo>
                        <a:lnTo>
                          <a:pt x="92" y="570"/>
                        </a:lnTo>
                        <a:lnTo>
                          <a:pt x="92" y="545"/>
                        </a:lnTo>
                        <a:lnTo>
                          <a:pt x="92" y="521"/>
                        </a:lnTo>
                        <a:lnTo>
                          <a:pt x="78" y="497"/>
                        </a:lnTo>
                        <a:lnTo>
                          <a:pt x="65" y="460"/>
                        </a:lnTo>
                        <a:lnTo>
                          <a:pt x="52" y="436"/>
                        </a:lnTo>
                        <a:lnTo>
                          <a:pt x="39" y="424"/>
                        </a:lnTo>
                        <a:lnTo>
                          <a:pt x="26" y="400"/>
                        </a:lnTo>
                        <a:lnTo>
                          <a:pt x="13" y="376"/>
                        </a:lnTo>
                        <a:lnTo>
                          <a:pt x="0" y="364"/>
                        </a:lnTo>
                        <a:lnTo>
                          <a:pt x="0" y="339"/>
                        </a:lnTo>
                        <a:lnTo>
                          <a:pt x="26" y="315"/>
                        </a:lnTo>
                        <a:lnTo>
                          <a:pt x="65" y="291"/>
                        </a:lnTo>
                        <a:lnTo>
                          <a:pt x="65" y="242"/>
                        </a:lnTo>
                        <a:lnTo>
                          <a:pt x="78" y="206"/>
                        </a:lnTo>
                        <a:lnTo>
                          <a:pt x="105" y="145"/>
                        </a:lnTo>
                        <a:lnTo>
                          <a:pt x="131" y="133"/>
                        </a:lnTo>
                        <a:lnTo>
                          <a:pt x="131" y="85"/>
                        </a:lnTo>
                        <a:lnTo>
                          <a:pt x="170" y="0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78" name="Freeform 74">
                    <a:extLst>
                      <a:ext uri="{FF2B5EF4-FFF2-40B4-BE49-F238E27FC236}">
                        <a16:creationId xmlns:a16="http://schemas.microsoft.com/office/drawing/2014/main" id="{99C306DB-86BB-40C6-AE93-32451E46E97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740670" y="2708424"/>
                    <a:ext cx="733425" cy="1239837"/>
                  </a:xfrm>
                  <a:custGeom>
                    <a:avLst/>
                    <a:gdLst>
                      <a:gd name="T0" fmla="*/ 632820 w 484"/>
                      <a:gd name="T1" fmla="*/ 626751 h 862"/>
                      <a:gd name="T2" fmla="*/ 553907 w 484"/>
                      <a:gd name="T3" fmla="*/ 626751 h 862"/>
                      <a:gd name="T4" fmla="*/ 534179 w 484"/>
                      <a:gd name="T5" fmla="*/ 609500 h 862"/>
                      <a:gd name="T6" fmla="*/ 494723 w 484"/>
                      <a:gd name="T7" fmla="*/ 592250 h 862"/>
                      <a:gd name="T8" fmla="*/ 474994 w 484"/>
                      <a:gd name="T9" fmla="*/ 540500 h 862"/>
                      <a:gd name="T10" fmla="*/ 474994 w 484"/>
                      <a:gd name="T11" fmla="*/ 452813 h 862"/>
                      <a:gd name="T12" fmla="*/ 494723 w 484"/>
                      <a:gd name="T13" fmla="*/ 418313 h 862"/>
                      <a:gd name="T14" fmla="*/ 455266 w 484"/>
                      <a:gd name="T15" fmla="*/ 383813 h 862"/>
                      <a:gd name="T16" fmla="*/ 435538 w 484"/>
                      <a:gd name="T17" fmla="*/ 330625 h 862"/>
                      <a:gd name="T18" fmla="*/ 435538 w 484"/>
                      <a:gd name="T19" fmla="*/ 296125 h 862"/>
                      <a:gd name="T20" fmla="*/ 415810 w 484"/>
                      <a:gd name="T21" fmla="*/ 208438 h 862"/>
                      <a:gd name="T22" fmla="*/ 374836 w 484"/>
                      <a:gd name="T23" fmla="*/ 156688 h 862"/>
                      <a:gd name="T24" fmla="*/ 317169 w 484"/>
                      <a:gd name="T25" fmla="*/ 104938 h 862"/>
                      <a:gd name="T26" fmla="*/ 277712 w 484"/>
                      <a:gd name="T27" fmla="*/ 0 h 862"/>
                      <a:gd name="T28" fmla="*/ 198800 w 484"/>
                      <a:gd name="T29" fmla="*/ 70438 h 862"/>
                      <a:gd name="T30" fmla="*/ 198800 w 484"/>
                      <a:gd name="T31" fmla="*/ 156688 h 862"/>
                      <a:gd name="T32" fmla="*/ 179071 w 484"/>
                      <a:gd name="T33" fmla="*/ 191188 h 862"/>
                      <a:gd name="T34" fmla="*/ 198800 w 484"/>
                      <a:gd name="T35" fmla="*/ 244375 h 862"/>
                      <a:gd name="T36" fmla="*/ 138097 w 484"/>
                      <a:gd name="T37" fmla="*/ 261625 h 862"/>
                      <a:gd name="T38" fmla="*/ 138097 w 484"/>
                      <a:gd name="T39" fmla="*/ 313375 h 862"/>
                      <a:gd name="T40" fmla="*/ 138097 w 484"/>
                      <a:gd name="T41" fmla="*/ 366563 h 862"/>
                      <a:gd name="T42" fmla="*/ 138097 w 484"/>
                      <a:gd name="T43" fmla="*/ 401063 h 862"/>
                      <a:gd name="T44" fmla="*/ 118369 w 484"/>
                      <a:gd name="T45" fmla="*/ 452813 h 862"/>
                      <a:gd name="T46" fmla="*/ 59185 w 484"/>
                      <a:gd name="T47" fmla="*/ 557750 h 862"/>
                      <a:gd name="T48" fmla="*/ 59185 w 484"/>
                      <a:gd name="T49" fmla="*/ 609500 h 862"/>
                      <a:gd name="T50" fmla="*/ 98641 w 484"/>
                      <a:gd name="T51" fmla="*/ 645438 h 862"/>
                      <a:gd name="T52" fmla="*/ 78913 w 484"/>
                      <a:gd name="T53" fmla="*/ 714438 h 862"/>
                      <a:gd name="T54" fmla="*/ 39456 w 484"/>
                      <a:gd name="T55" fmla="*/ 766188 h 862"/>
                      <a:gd name="T56" fmla="*/ 39456 w 484"/>
                      <a:gd name="T57" fmla="*/ 819376 h 862"/>
                      <a:gd name="T58" fmla="*/ 19728 w 484"/>
                      <a:gd name="T59" fmla="*/ 905626 h 862"/>
                      <a:gd name="T60" fmla="*/ 19728 w 484"/>
                      <a:gd name="T61" fmla="*/ 922876 h 862"/>
                      <a:gd name="T62" fmla="*/ 0 w 484"/>
                      <a:gd name="T63" fmla="*/ 976063 h 862"/>
                      <a:gd name="T64" fmla="*/ 0 w 484"/>
                      <a:gd name="T65" fmla="*/ 1045063 h 862"/>
                      <a:gd name="T66" fmla="*/ 0 w 484"/>
                      <a:gd name="T67" fmla="*/ 1081001 h 862"/>
                      <a:gd name="T68" fmla="*/ 19728 w 484"/>
                      <a:gd name="T69" fmla="*/ 1098251 h 862"/>
                      <a:gd name="T70" fmla="*/ 59185 w 484"/>
                      <a:gd name="T71" fmla="*/ 1115501 h 862"/>
                      <a:gd name="T72" fmla="*/ 98641 w 484"/>
                      <a:gd name="T73" fmla="*/ 1132751 h 862"/>
                      <a:gd name="T74" fmla="*/ 118369 w 484"/>
                      <a:gd name="T75" fmla="*/ 1184501 h 862"/>
                      <a:gd name="T76" fmla="*/ 159343 w 484"/>
                      <a:gd name="T77" fmla="*/ 1237688 h 862"/>
                      <a:gd name="T78" fmla="*/ 238256 w 484"/>
                      <a:gd name="T79" fmla="*/ 1219001 h 862"/>
                      <a:gd name="T80" fmla="*/ 317169 w 484"/>
                      <a:gd name="T81" fmla="*/ 1167251 h 862"/>
                      <a:gd name="T82" fmla="*/ 394564 w 484"/>
                      <a:gd name="T83" fmla="*/ 1150001 h 862"/>
                      <a:gd name="T84" fmla="*/ 455266 w 484"/>
                      <a:gd name="T85" fmla="*/ 1167251 h 862"/>
                      <a:gd name="T86" fmla="*/ 534179 w 484"/>
                      <a:gd name="T87" fmla="*/ 1132751 h 862"/>
                      <a:gd name="T88" fmla="*/ 553907 w 484"/>
                      <a:gd name="T89" fmla="*/ 1132751 h 862"/>
                      <a:gd name="T90" fmla="*/ 593364 w 484"/>
                      <a:gd name="T91" fmla="*/ 1115501 h 862"/>
                      <a:gd name="T92" fmla="*/ 613092 w 484"/>
                      <a:gd name="T93" fmla="*/ 1062313 h 862"/>
                      <a:gd name="T94" fmla="*/ 613092 w 484"/>
                      <a:gd name="T95" fmla="*/ 993313 h 862"/>
                      <a:gd name="T96" fmla="*/ 613092 w 484"/>
                      <a:gd name="T97" fmla="*/ 958813 h 862"/>
                      <a:gd name="T98" fmla="*/ 632820 w 484"/>
                      <a:gd name="T99" fmla="*/ 905626 h 862"/>
                      <a:gd name="T100" fmla="*/ 632820 w 484"/>
                      <a:gd name="T101" fmla="*/ 853876 h 862"/>
                      <a:gd name="T102" fmla="*/ 652548 w 484"/>
                      <a:gd name="T103" fmla="*/ 819376 h 862"/>
                      <a:gd name="T104" fmla="*/ 732978 w 484"/>
                      <a:gd name="T105" fmla="*/ 748938 h 862"/>
                      <a:gd name="T106" fmla="*/ 632820 w 484"/>
                      <a:gd name="T107" fmla="*/ 626751 h 862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0" t="0" r="r" b="b"/>
                    <a:pathLst>
                      <a:path w="484" h="862">
                        <a:moveTo>
                          <a:pt x="417" y="436"/>
                        </a:moveTo>
                        <a:lnTo>
                          <a:pt x="365" y="436"/>
                        </a:lnTo>
                        <a:lnTo>
                          <a:pt x="352" y="424"/>
                        </a:lnTo>
                        <a:lnTo>
                          <a:pt x="326" y="412"/>
                        </a:lnTo>
                        <a:lnTo>
                          <a:pt x="313" y="376"/>
                        </a:lnTo>
                        <a:lnTo>
                          <a:pt x="313" y="315"/>
                        </a:lnTo>
                        <a:lnTo>
                          <a:pt x="326" y="291"/>
                        </a:lnTo>
                        <a:lnTo>
                          <a:pt x="300" y="267"/>
                        </a:lnTo>
                        <a:lnTo>
                          <a:pt x="287" y="230"/>
                        </a:lnTo>
                        <a:lnTo>
                          <a:pt x="287" y="206"/>
                        </a:lnTo>
                        <a:lnTo>
                          <a:pt x="274" y="145"/>
                        </a:lnTo>
                        <a:lnTo>
                          <a:pt x="247" y="109"/>
                        </a:lnTo>
                        <a:lnTo>
                          <a:pt x="209" y="73"/>
                        </a:lnTo>
                        <a:lnTo>
                          <a:pt x="183" y="0"/>
                        </a:lnTo>
                        <a:lnTo>
                          <a:pt x="131" y="49"/>
                        </a:lnTo>
                        <a:lnTo>
                          <a:pt x="131" y="109"/>
                        </a:lnTo>
                        <a:lnTo>
                          <a:pt x="118" y="133"/>
                        </a:lnTo>
                        <a:lnTo>
                          <a:pt x="131" y="170"/>
                        </a:lnTo>
                        <a:lnTo>
                          <a:pt x="91" y="182"/>
                        </a:lnTo>
                        <a:lnTo>
                          <a:pt x="91" y="218"/>
                        </a:lnTo>
                        <a:lnTo>
                          <a:pt x="91" y="255"/>
                        </a:lnTo>
                        <a:lnTo>
                          <a:pt x="91" y="279"/>
                        </a:lnTo>
                        <a:lnTo>
                          <a:pt x="78" y="315"/>
                        </a:lnTo>
                        <a:lnTo>
                          <a:pt x="39" y="388"/>
                        </a:lnTo>
                        <a:lnTo>
                          <a:pt x="39" y="424"/>
                        </a:lnTo>
                        <a:lnTo>
                          <a:pt x="65" y="449"/>
                        </a:lnTo>
                        <a:lnTo>
                          <a:pt x="52" y="497"/>
                        </a:lnTo>
                        <a:lnTo>
                          <a:pt x="26" y="533"/>
                        </a:lnTo>
                        <a:lnTo>
                          <a:pt x="26" y="570"/>
                        </a:lnTo>
                        <a:lnTo>
                          <a:pt x="13" y="630"/>
                        </a:lnTo>
                        <a:lnTo>
                          <a:pt x="13" y="642"/>
                        </a:lnTo>
                        <a:lnTo>
                          <a:pt x="0" y="679"/>
                        </a:lnTo>
                        <a:lnTo>
                          <a:pt x="0" y="727"/>
                        </a:lnTo>
                        <a:lnTo>
                          <a:pt x="0" y="752"/>
                        </a:lnTo>
                        <a:lnTo>
                          <a:pt x="13" y="764"/>
                        </a:lnTo>
                        <a:lnTo>
                          <a:pt x="39" y="776"/>
                        </a:lnTo>
                        <a:lnTo>
                          <a:pt x="65" y="788"/>
                        </a:lnTo>
                        <a:lnTo>
                          <a:pt x="78" y="824"/>
                        </a:lnTo>
                        <a:lnTo>
                          <a:pt x="105" y="861"/>
                        </a:lnTo>
                        <a:lnTo>
                          <a:pt x="157" y="848"/>
                        </a:lnTo>
                        <a:lnTo>
                          <a:pt x="209" y="812"/>
                        </a:lnTo>
                        <a:lnTo>
                          <a:pt x="260" y="800"/>
                        </a:lnTo>
                        <a:lnTo>
                          <a:pt x="300" y="812"/>
                        </a:lnTo>
                        <a:lnTo>
                          <a:pt x="352" y="788"/>
                        </a:lnTo>
                        <a:lnTo>
                          <a:pt x="365" y="788"/>
                        </a:lnTo>
                        <a:lnTo>
                          <a:pt x="391" y="776"/>
                        </a:lnTo>
                        <a:lnTo>
                          <a:pt x="404" y="739"/>
                        </a:lnTo>
                        <a:lnTo>
                          <a:pt x="404" y="691"/>
                        </a:lnTo>
                        <a:lnTo>
                          <a:pt x="404" y="667"/>
                        </a:lnTo>
                        <a:lnTo>
                          <a:pt x="417" y="630"/>
                        </a:lnTo>
                        <a:lnTo>
                          <a:pt x="417" y="594"/>
                        </a:lnTo>
                        <a:lnTo>
                          <a:pt x="430" y="570"/>
                        </a:lnTo>
                        <a:lnTo>
                          <a:pt x="483" y="521"/>
                        </a:lnTo>
                        <a:lnTo>
                          <a:pt x="417" y="436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round/>
                        <a:headEnd type="none" w="sm" len="sm"/>
                        <a:tailEnd type="stealth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79" name="Freeform 75">
                    <a:extLst>
                      <a:ext uri="{FF2B5EF4-FFF2-40B4-BE49-F238E27FC236}">
                        <a16:creationId xmlns:a16="http://schemas.microsoft.com/office/drawing/2014/main" id="{37436DC5-88F3-4DD9-9D59-8D36BF9BD04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740670" y="2708424"/>
                    <a:ext cx="733425" cy="1239837"/>
                  </a:xfrm>
                  <a:custGeom>
                    <a:avLst/>
                    <a:gdLst>
                      <a:gd name="T0" fmla="*/ 632820 w 484"/>
                      <a:gd name="T1" fmla="*/ 626751 h 862"/>
                      <a:gd name="T2" fmla="*/ 553907 w 484"/>
                      <a:gd name="T3" fmla="*/ 626751 h 862"/>
                      <a:gd name="T4" fmla="*/ 534179 w 484"/>
                      <a:gd name="T5" fmla="*/ 609500 h 862"/>
                      <a:gd name="T6" fmla="*/ 494723 w 484"/>
                      <a:gd name="T7" fmla="*/ 592250 h 862"/>
                      <a:gd name="T8" fmla="*/ 474994 w 484"/>
                      <a:gd name="T9" fmla="*/ 540500 h 862"/>
                      <a:gd name="T10" fmla="*/ 474994 w 484"/>
                      <a:gd name="T11" fmla="*/ 452813 h 862"/>
                      <a:gd name="T12" fmla="*/ 494723 w 484"/>
                      <a:gd name="T13" fmla="*/ 418313 h 862"/>
                      <a:gd name="T14" fmla="*/ 455266 w 484"/>
                      <a:gd name="T15" fmla="*/ 383813 h 862"/>
                      <a:gd name="T16" fmla="*/ 435538 w 484"/>
                      <a:gd name="T17" fmla="*/ 330625 h 862"/>
                      <a:gd name="T18" fmla="*/ 435538 w 484"/>
                      <a:gd name="T19" fmla="*/ 296125 h 862"/>
                      <a:gd name="T20" fmla="*/ 415810 w 484"/>
                      <a:gd name="T21" fmla="*/ 208438 h 862"/>
                      <a:gd name="T22" fmla="*/ 374836 w 484"/>
                      <a:gd name="T23" fmla="*/ 156688 h 862"/>
                      <a:gd name="T24" fmla="*/ 317169 w 484"/>
                      <a:gd name="T25" fmla="*/ 104938 h 862"/>
                      <a:gd name="T26" fmla="*/ 277712 w 484"/>
                      <a:gd name="T27" fmla="*/ 0 h 862"/>
                      <a:gd name="T28" fmla="*/ 198800 w 484"/>
                      <a:gd name="T29" fmla="*/ 70438 h 862"/>
                      <a:gd name="T30" fmla="*/ 198800 w 484"/>
                      <a:gd name="T31" fmla="*/ 156688 h 862"/>
                      <a:gd name="T32" fmla="*/ 179071 w 484"/>
                      <a:gd name="T33" fmla="*/ 191188 h 862"/>
                      <a:gd name="T34" fmla="*/ 198800 w 484"/>
                      <a:gd name="T35" fmla="*/ 244375 h 862"/>
                      <a:gd name="T36" fmla="*/ 138097 w 484"/>
                      <a:gd name="T37" fmla="*/ 261625 h 862"/>
                      <a:gd name="T38" fmla="*/ 138097 w 484"/>
                      <a:gd name="T39" fmla="*/ 313375 h 862"/>
                      <a:gd name="T40" fmla="*/ 138097 w 484"/>
                      <a:gd name="T41" fmla="*/ 366563 h 862"/>
                      <a:gd name="T42" fmla="*/ 138097 w 484"/>
                      <a:gd name="T43" fmla="*/ 401063 h 862"/>
                      <a:gd name="T44" fmla="*/ 118369 w 484"/>
                      <a:gd name="T45" fmla="*/ 452813 h 862"/>
                      <a:gd name="T46" fmla="*/ 59185 w 484"/>
                      <a:gd name="T47" fmla="*/ 557750 h 862"/>
                      <a:gd name="T48" fmla="*/ 59185 w 484"/>
                      <a:gd name="T49" fmla="*/ 609500 h 862"/>
                      <a:gd name="T50" fmla="*/ 98641 w 484"/>
                      <a:gd name="T51" fmla="*/ 645438 h 862"/>
                      <a:gd name="T52" fmla="*/ 78913 w 484"/>
                      <a:gd name="T53" fmla="*/ 714438 h 862"/>
                      <a:gd name="T54" fmla="*/ 39456 w 484"/>
                      <a:gd name="T55" fmla="*/ 766188 h 862"/>
                      <a:gd name="T56" fmla="*/ 39456 w 484"/>
                      <a:gd name="T57" fmla="*/ 819376 h 862"/>
                      <a:gd name="T58" fmla="*/ 19728 w 484"/>
                      <a:gd name="T59" fmla="*/ 905626 h 862"/>
                      <a:gd name="T60" fmla="*/ 19728 w 484"/>
                      <a:gd name="T61" fmla="*/ 922876 h 862"/>
                      <a:gd name="T62" fmla="*/ 0 w 484"/>
                      <a:gd name="T63" fmla="*/ 976063 h 862"/>
                      <a:gd name="T64" fmla="*/ 0 w 484"/>
                      <a:gd name="T65" fmla="*/ 1045063 h 862"/>
                      <a:gd name="T66" fmla="*/ 0 w 484"/>
                      <a:gd name="T67" fmla="*/ 1081001 h 862"/>
                      <a:gd name="T68" fmla="*/ 19728 w 484"/>
                      <a:gd name="T69" fmla="*/ 1098251 h 862"/>
                      <a:gd name="T70" fmla="*/ 59185 w 484"/>
                      <a:gd name="T71" fmla="*/ 1115501 h 862"/>
                      <a:gd name="T72" fmla="*/ 98641 w 484"/>
                      <a:gd name="T73" fmla="*/ 1132751 h 862"/>
                      <a:gd name="T74" fmla="*/ 118369 w 484"/>
                      <a:gd name="T75" fmla="*/ 1184501 h 862"/>
                      <a:gd name="T76" fmla="*/ 159343 w 484"/>
                      <a:gd name="T77" fmla="*/ 1237688 h 862"/>
                      <a:gd name="T78" fmla="*/ 238256 w 484"/>
                      <a:gd name="T79" fmla="*/ 1219001 h 862"/>
                      <a:gd name="T80" fmla="*/ 317169 w 484"/>
                      <a:gd name="T81" fmla="*/ 1167251 h 862"/>
                      <a:gd name="T82" fmla="*/ 394564 w 484"/>
                      <a:gd name="T83" fmla="*/ 1150001 h 862"/>
                      <a:gd name="T84" fmla="*/ 455266 w 484"/>
                      <a:gd name="T85" fmla="*/ 1167251 h 862"/>
                      <a:gd name="T86" fmla="*/ 534179 w 484"/>
                      <a:gd name="T87" fmla="*/ 1132751 h 862"/>
                      <a:gd name="T88" fmla="*/ 553907 w 484"/>
                      <a:gd name="T89" fmla="*/ 1132751 h 862"/>
                      <a:gd name="T90" fmla="*/ 593364 w 484"/>
                      <a:gd name="T91" fmla="*/ 1115501 h 862"/>
                      <a:gd name="T92" fmla="*/ 613092 w 484"/>
                      <a:gd name="T93" fmla="*/ 1062313 h 862"/>
                      <a:gd name="T94" fmla="*/ 613092 w 484"/>
                      <a:gd name="T95" fmla="*/ 993313 h 862"/>
                      <a:gd name="T96" fmla="*/ 613092 w 484"/>
                      <a:gd name="T97" fmla="*/ 958813 h 862"/>
                      <a:gd name="T98" fmla="*/ 632820 w 484"/>
                      <a:gd name="T99" fmla="*/ 905626 h 862"/>
                      <a:gd name="T100" fmla="*/ 632820 w 484"/>
                      <a:gd name="T101" fmla="*/ 853876 h 862"/>
                      <a:gd name="T102" fmla="*/ 652548 w 484"/>
                      <a:gd name="T103" fmla="*/ 819376 h 862"/>
                      <a:gd name="T104" fmla="*/ 732978 w 484"/>
                      <a:gd name="T105" fmla="*/ 748938 h 862"/>
                      <a:gd name="T106" fmla="*/ 632820 w 484"/>
                      <a:gd name="T107" fmla="*/ 626751 h 862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0" t="0" r="r" b="b"/>
                    <a:pathLst>
                      <a:path w="484" h="862">
                        <a:moveTo>
                          <a:pt x="417" y="436"/>
                        </a:moveTo>
                        <a:lnTo>
                          <a:pt x="365" y="436"/>
                        </a:lnTo>
                        <a:lnTo>
                          <a:pt x="352" y="424"/>
                        </a:lnTo>
                        <a:lnTo>
                          <a:pt x="326" y="412"/>
                        </a:lnTo>
                        <a:lnTo>
                          <a:pt x="313" y="376"/>
                        </a:lnTo>
                        <a:lnTo>
                          <a:pt x="313" y="315"/>
                        </a:lnTo>
                        <a:lnTo>
                          <a:pt x="326" y="291"/>
                        </a:lnTo>
                        <a:lnTo>
                          <a:pt x="300" y="267"/>
                        </a:lnTo>
                        <a:lnTo>
                          <a:pt x="287" y="230"/>
                        </a:lnTo>
                        <a:lnTo>
                          <a:pt x="287" y="206"/>
                        </a:lnTo>
                        <a:lnTo>
                          <a:pt x="274" y="145"/>
                        </a:lnTo>
                        <a:lnTo>
                          <a:pt x="247" y="109"/>
                        </a:lnTo>
                        <a:lnTo>
                          <a:pt x="209" y="73"/>
                        </a:lnTo>
                        <a:lnTo>
                          <a:pt x="183" y="0"/>
                        </a:lnTo>
                        <a:lnTo>
                          <a:pt x="131" y="49"/>
                        </a:lnTo>
                        <a:lnTo>
                          <a:pt x="131" y="109"/>
                        </a:lnTo>
                        <a:lnTo>
                          <a:pt x="118" y="133"/>
                        </a:lnTo>
                        <a:lnTo>
                          <a:pt x="131" y="170"/>
                        </a:lnTo>
                        <a:lnTo>
                          <a:pt x="91" y="182"/>
                        </a:lnTo>
                        <a:lnTo>
                          <a:pt x="91" y="218"/>
                        </a:lnTo>
                        <a:lnTo>
                          <a:pt x="91" y="255"/>
                        </a:lnTo>
                        <a:lnTo>
                          <a:pt x="91" y="279"/>
                        </a:lnTo>
                        <a:lnTo>
                          <a:pt x="78" y="315"/>
                        </a:lnTo>
                        <a:lnTo>
                          <a:pt x="39" y="388"/>
                        </a:lnTo>
                        <a:lnTo>
                          <a:pt x="39" y="424"/>
                        </a:lnTo>
                        <a:lnTo>
                          <a:pt x="65" y="449"/>
                        </a:lnTo>
                        <a:lnTo>
                          <a:pt x="52" y="497"/>
                        </a:lnTo>
                        <a:lnTo>
                          <a:pt x="26" y="533"/>
                        </a:lnTo>
                        <a:lnTo>
                          <a:pt x="26" y="570"/>
                        </a:lnTo>
                        <a:lnTo>
                          <a:pt x="13" y="630"/>
                        </a:lnTo>
                        <a:lnTo>
                          <a:pt x="13" y="642"/>
                        </a:lnTo>
                        <a:lnTo>
                          <a:pt x="0" y="679"/>
                        </a:lnTo>
                        <a:lnTo>
                          <a:pt x="0" y="727"/>
                        </a:lnTo>
                        <a:lnTo>
                          <a:pt x="0" y="752"/>
                        </a:lnTo>
                        <a:lnTo>
                          <a:pt x="13" y="764"/>
                        </a:lnTo>
                        <a:lnTo>
                          <a:pt x="39" y="776"/>
                        </a:lnTo>
                        <a:lnTo>
                          <a:pt x="65" y="788"/>
                        </a:lnTo>
                        <a:lnTo>
                          <a:pt x="78" y="824"/>
                        </a:lnTo>
                        <a:lnTo>
                          <a:pt x="105" y="861"/>
                        </a:lnTo>
                        <a:lnTo>
                          <a:pt x="157" y="848"/>
                        </a:lnTo>
                        <a:lnTo>
                          <a:pt x="209" y="812"/>
                        </a:lnTo>
                        <a:lnTo>
                          <a:pt x="260" y="800"/>
                        </a:lnTo>
                        <a:lnTo>
                          <a:pt x="300" y="812"/>
                        </a:lnTo>
                        <a:lnTo>
                          <a:pt x="352" y="788"/>
                        </a:lnTo>
                        <a:lnTo>
                          <a:pt x="365" y="788"/>
                        </a:lnTo>
                        <a:lnTo>
                          <a:pt x="391" y="776"/>
                        </a:lnTo>
                        <a:lnTo>
                          <a:pt x="404" y="739"/>
                        </a:lnTo>
                        <a:lnTo>
                          <a:pt x="404" y="691"/>
                        </a:lnTo>
                        <a:lnTo>
                          <a:pt x="404" y="667"/>
                        </a:lnTo>
                        <a:lnTo>
                          <a:pt x="417" y="630"/>
                        </a:lnTo>
                        <a:lnTo>
                          <a:pt x="417" y="594"/>
                        </a:lnTo>
                        <a:lnTo>
                          <a:pt x="430" y="570"/>
                        </a:lnTo>
                        <a:lnTo>
                          <a:pt x="483" y="521"/>
                        </a:lnTo>
                        <a:lnTo>
                          <a:pt x="417" y="436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80" name="Freeform 76">
                    <a:extLst>
                      <a:ext uri="{FF2B5EF4-FFF2-40B4-BE49-F238E27FC236}">
                        <a16:creationId xmlns:a16="http://schemas.microsoft.com/office/drawing/2014/main" id="{AA27BA92-FDF4-4A76-9C96-7139635598F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85257" y="2482999"/>
                    <a:ext cx="477838" cy="628650"/>
                  </a:xfrm>
                  <a:custGeom>
                    <a:avLst/>
                    <a:gdLst>
                      <a:gd name="T0" fmla="*/ 0 w 315"/>
                      <a:gd name="T1" fmla="*/ 18672 h 438"/>
                      <a:gd name="T2" fmla="*/ 39388 w 315"/>
                      <a:gd name="T3" fmla="*/ 53143 h 438"/>
                      <a:gd name="T4" fmla="*/ 80291 w 315"/>
                      <a:gd name="T5" fmla="*/ 104849 h 438"/>
                      <a:gd name="T6" fmla="*/ 60597 w 315"/>
                      <a:gd name="T7" fmla="*/ 157992 h 438"/>
                      <a:gd name="T8" fmla="*/ 39388 w 315"/>
                      <a:gd name="T9" fmla="*/ 209698 h 438"/>
                      <a:gd name="T10" fmla="*/ 39388 w 315"/>
                      <a:gd name="T11" fmla="*/ 244169 h 438"/>
                      <a:gd name="T12" fmla="*/ 39388 w 315"/>
                      <a:gd name="T13" fmla="*/ 331783 h 438"/>
                      <a:gd name="T14" fmla="*/ 39388 w 315"/>
                      <a:gd name="T15" fmla="*/ 366254 h 438"/>
                      <a:gd name="T16" fmla="*/ 60597 w 315"/>
                      <a:gd name="T17" fmla="*/ 417960 h 438"/>
                      <a:gd name="T18" fmla="*/ 80291 w 315"/>
                      <a:gd name="T19" fmla="*/ 453868 h 438"/>
                      <a:gd name="T20" fmla="*/ 80291 w 315"/>
                      <a:gd name="T21" fmla="*/ 488339 h 438"/>
                      <a:gd name="T22" fmla="*/ 60597 w 315"/>
                      <a:gd name="T23" fmla="*/ 540045 h 438"/>
                      <a:gd name="T24" fmla="*/ 39388 w 315"/>
                      <a:gd name="T25" fmla="*/ 557281 h 438"/>
                      <a:gd name="T26" fmla="*/ 60597 w 315"/>
                      <a:gd name="T27" fmla="*/ 627659 h 438"/>
                      <a:gd name="T28" fmla="*/ 159067 w 315"/>
                      <a:gd name="T29" fmla="*/ 574516 h 438"/>
                      <a:gd name="T30" fmla="*/ 237844 w 315"/>
                      <a:gd name="T31" fmla="*/ 593188 h 438"/>
                      <a:gd name="T32" fmla="*/ 277232 w 315"/>
                      <a:gd name="T33" fmla="*/ 557281 h 438"/>
                      <a:gd name="T34" fmla="*/ 318135 w 315"/>
                      <a:gd name="T35" fmla="*/ 505574 h 438"/>
                      <a:gd name="T36" fmla="*/ 377217 w 315"/>
                      <a:gd name="T37" fmla="*/ 453868 h 438"/>
                      <a:gd name="T38" fmla="*/ 396911 w 315"/>
                      <a:gd name="T39" fmla="*/ 435196 h 438"/>
                      <a:gd name="T40" fmla="*/ 357523 w 315"/>
                      <a:gd name="T41" fmla="*/ 366254 h 438"/>
                      <a:gd name="T42" fmla="*/ 396911 w 315"/>
                      <a:gd name="T43" fmla="*/ 314548 h 438"/>
                      <a:gd name="T44" fmla="*/ 455993 w 315"/>
                      <a:gd name="T45" fmla="*/ 278640 h 438"/>
                      <a:gd name="T46" fmla="*/ 455993 w 315"/>
                      <a:gd name="T47" fmla="*/ 209698 h 438"/>
                      <a:gd name="T48" fmla="*/ 475687 w 315"/>
                      <a:gd name="T49" fmla="*/ 157992 h 438"/>
                      <a:gd name="T50" fmla="*/ 436299 w 315"/>
                      <a:gd name="T51" fmla="*/ 104849 h 438"/>
                      <a:gd name="T52" fmla="*/ 377217 w 315"/>
                      <a:gd name="T53" fmla="*/ 53143 h 438"/>
                      <a:gd name="T54" fmla="*/ 296926 w 315"/>
                      <a:gd name="T55" fmla="*/ 18672 h 438"/>
                      <a:gd name="T56" fmla="*/ 237844 w 315"/>
                      <a:gd name="T57" fmla="*/ 18672 h 438"/>
                      <a:gd name="T58" fmla="*/ 178761 w 315"/>
                      <a:gd name="T59" fmla="*/ 0 h 438"/>
                      <a:gd name="T60" fmla="*/ 139373 w 315"/>
                      <a:gd name="T61" fmla="*/ 18672 h 438"/>
                      <a:gd name="T62" fmla="*/ 119679 w 315"/>
                      <a:gd name="T63" fmla="*/ 18672 h 438"/>
                      <a:gd name="T64" fmla="*/ 80291 w 315"/>
                      <a:gd name="T65" fmla="*/ 18672 h 438"/>
                      <a:gd name="T66" fmla="*/ 0 w 315"/>
                      <a:gd name="T67" fmla="*/ 18672 h 438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315" h="438">
                        <a:moveTo>
                          <a:pt x="0" y="13"/>
                        </a:moveTo>
                        <a:lnTo>
                          <a:pt x="26" y="37"/>
                        </a:lnTo>
                        <a:lnTo>
                          <a:pt x="53" y="73"/>
                        </a:lnTo>
                        <a:lnTo>
                          <a:pt x="40" y="110"/>
                        </a:lnTo>
                        <a:lnTo>
                          <a:pt x="26" y="146"/>
                        </a:lnTo>
                        <a:lnTo>
                          <a:pt x="26" y="170"/>
                        </a:lnTo>
                        <a:lnTo>
                          <a:pt x="26" y="231"/>
                        </a:lnTo>
                        <a:lnTo>
                          <a:pt x="26" y="255"/>
                        </a:lnTo>
                        <a:lnTo>
                          <a:pt x="40" y="291"/>
                        </a:lnTo>
                        <a:lnTo>
                          <a:pt x="53" y="316"/>
                        </a:lnTo>
                        <a:lnTo>
                          <a:pt x="53" y="340"/>
                        </a:lnTo>
                        <a:lnTo>
                          <a:pt x="40" y="376"/>
                        </a:lnTo>
                        <a:lnTo>
                          <a:pt x="26" y="388"/>
                        </a:lnTo>
                        <a:lnTo>
                          <a:pt x="40" y="437"/>
                        </a:lnTo>
                        <a:lnTo>
                          <a:pt x="105" y="400"/>
                        </a:lnTo>
                        <a:lnTo>
                          <a:pt x="157" y="413"/>
                        </a:lnTo>
                        <a:lnTo>
                          <a:pt x="183" y="388"/>
                        </a:lnTo>
                        <a:lnTo>
                          <a:pt x="210" y="352"/>
                        </a:lnTo>
                        <a:lnTo>
                          <a:pt x="249" y="316"/>
                        </a:lnTo>
                        <a:lnTo>
                          <a:pt x="262" y="303"/>
                        </a:lnTo>
                        <a:lnTo>
                          <a:pt x="236" y="255"/>
                        </a:lnTo>
                        <a:lnTo>
                          <a:pt x="262" y="219"/>
                        </a:lnTo>
                        <a:lnTo>
                          <a:pt x="301" y="194"/>
                        </a:lnTo>
                        <a:lnTo>
                          <a:pt x="301" y="146"/>
                        </a:lnTo>
                        <a:lnTo>
                          <a:pt x="314" y="110"/>
                        </a:lnTo>
                        <a:lnTo>
                          <a:pt x="288" y="73"/>
                        </a:lnTo>
                        <a:lnTo>
                          <a:pt x="249" y="37"/>
                        </a:lnTo>
                        <a:lnTo>
                          <a:pt x="196" y="13"/>
                        </a:lnTo>
                        <a:lnTo>
                          <a:pt x="157" y="13"/>
                        </a:lnTo>
                        <a:lnTo>
                          <a:pt x="118" y="0"/>
                        </a:lnTo>
                        <a:lnTo>
                          <a:pt x="92" y="13"/>
                        </a:lnTo>
                        <a:lnTo>
                          <a:pt x="79" y="13"/>
                        </a:lnTo>
                        <a:lnTo>
                          <a:pt x="53" y="13"/>
                        </a:lnTo>
                        <a:lnTo>
                          <a:pt x="0" y="13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round/>
                        <a:headEnd type="none" w="sm" len="sm"/>
                        <a:tailEnd type="stealth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81" name="Freeform 77">
                    <a:extLst>
                      <a:ext uri="{FF2B5EF4-FFF2-40B4-BE49-F238E27FC236}">
                        <a16:creationId xmlns:a16="http://schemas.microsoft.com/office/drawing/2014/main" id="{2CA85EAD-E6B6-4CB5-86DF-3CBEC846577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85257" y="2482999"/>
                    <a:ext cx="477838" cy="628650"/>
                  </a:xfrm>
                  <a:custGeom>
                    <a:avLst/>
                    <a:gdLst>
                      <a:gd name="T0" fmla="*/ 0 w 315"/>
                      <a:gd name="T1" fmla="*/ 18672 h 438"/>
                      <a:gd name="T2" fmla="*/ 39388 w 315"/>
                      <a:gd name="T3" fmla="*/ 53143 h 438"/>
                      <a:gd name="T4" fmla="*/ 80291 w 315"/>
                      <a:gd name="T5" fmla="*/ 104849 h 438"/>
                      <a:gd name="T6" fmla="*/ 60597 w 315"/>
                      <a:gd name="T7" fmla="*/ 157992 h 438"/>
                      <a:gd name="T8" fmla="*/ 39388 w 315"/>
                      <a:gd name="T9" fmla="*/ 209698 h 438"/>
                      <a:gd name="T10" fmla="*/ 39388 w 315"/>
                      <a:gd name="T11" fmla="*/ 244169 h 438"/>
                      <a:gd name="T12" fmla="*/ 39388 w 315"/>
                      <a:gd name="T13" fmla="*/ 331783 h 438"/>
                      <a:gd name="T14" fmla="*/ 39388 w 315"/>
                      <a:gd name="T15" fmla="*/ 366254 h 438"/>
                      <a:gd name="T16" fmla="*/ 60597 w 315"/>
                      <a:gd name="T17" fmla="*/ 417960 h 438"/>
                      <a:gd name="T18" fmla="*/ 80291 w 315"/>
                      <a:gd name="T19" fmla="*/ 453868 h 438"/>
                      <a:gd name="T20" fmla="*/ 80291 w 315"/>
                      <a:gd name="T21" fmla="*/ 488339 h 438"/>
                      <a:gd name="T22" fmla="*/ 60597 w 315"/>
                      <a:gd name="T23" fmla="*/ 540045 h 438"/>
                      <a:gd name="T24" fmla="*/ 39388 w 315"/>
                      <a:gd name="T25" fmla="*/ 557281 h 438"/>
                      <a:gd name="T26" fmla="*/ 60597 w 315"/>
                      <a:gd name="T27" fmla="*/ 627659 h 438"/>
                      <a:gd name="T28" fmla="*/ 159067 w 315"/>
                      <a:gd name="T29" fmla="*/ 574516 h 438"/>
                      <a:gd name="T30" fmla="*/ 237844 w 315"/>
                      <a:gd name="T31" fmla="*/ 593188 h 438"/>
                      <a:gd name="T32" fmla="*/ 277232 w 315"/>
                      <a:gd name="T33" fmla="*/ 557281 h 438"/>
                      <a:gd name="T34" fmla="*/ 318135 w 315"/>
                      <a:gd name="T35" fmla="*/ 505574 h 438"/>
                      <a:gd name="T36" fmla="*/ 377217 w 315"/>
                      <a:gd name="T37" fmla="*/ 453868 h 438"/>
                      <a:gd name="T38" fmla="*/ 396911 w 315"/>
                      <a:gd name="T39" fmla="*/ 435196 h 438"/>
                      <a:gd name="T40" fmla="*/ 357523 w 315"/>
                      <a:gd name="T41" fmla="*/ 366254 h 438"/>
                      <a:gd name="T42" fmla="*/ 396911 w 315"/>
                      <a:gd name="T43" fmla="*/ 314548 h 438"/>
                      <a:gd name="T44" fmla="*/ 455993 w 315"/>
                      <a:gd name="T45" fmla="*/ 278640 h 438"/>
                      <a:gd name="T46" fmla="*/ 455993 w 315"/>
                      <a:gd name="T47" fmla="*/ 209698 h 438"/>
                      <a:gd name="T48" fmla="*/ 475687 w 315"/>
                      <a:gd name="T49" fmla="*/ 157992 h 438"/>
                      <a:gd name="T50" fmla="*/ 436299 w 315"/>
                      <a:gd name="T51" fmla="*/ 104849 h 438"/>
                      <a:gd name="T52" fmla="*/ 377217 w 315"/>
                      <a:gd name="T53" fmla="*/ 53143 h 438"/>
                      <a:gd name="T54" fmla="*/ 296926 w 315"/>
                      <a:gd name="T55" fmla="*/ 18672 h 438"/>
                      <a:gd name="T56" fmla="*/ 237844 w 315"/>
                      <a:gd name="T57" fmla="*/ 18672 h 438"/>
                      <a:gd name="T58" fmla="*/ 178761 w 315"/>
                      <a:gd name="T59" fmla="*/ 0 h 438"/>
                      <a:gd name="T60" fmla="*/ 139373 w 315"/>
                      <a:gd name="T61" fmla="*/ 18672 h 438"/>
                      <a:gd name="T62" fmla="*/ 119679 w 315"/>
                      <a:gd name="T63" fmla="*/ 18672 h 438"/>
                      <a:gd name="T64" fmla="*/ 80291 w 315"/>
                      <a:gd name="T65" fmla="*/ 18672 h 438"/>
                      <a:gd name="T66" fmla="*/ 0 w 315"/>
                      <a:gd name="T67" fmla="*/ 18672 h 438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315" h="438">
                        <a:moveTo>
                          <a:pt x="0" y="13"/>
                        </a:moveTo>
                        <a:lnTo>
                          <a:pt x="26" y="37"/>
                        </a:lnTo>
                        <a:lnTo>
                          <a:pt x="53" y="73"/>
                        </a:lnTo>
                        <a:lnTo>
                          <a:pt x="40" y="110"/>
                        </a:lnTo>
                        <a:lnTo>
                          <a:pt x="26" y="146"/>
                        </a:lnTo>
                        <a:lnTo>
                          <a:pt x="26" y="170"/>
                        </a:lnTo>
                        <a:lnTo>
                          <a:pt x="26" y="231"/>
                        </a:lnTo>
                        <a:lnTo>
                          <a:pt x="26" y="255"/>
                        </a:lnTo>
                        <a:lnTo>
                          <a:pt x="40" y="291"/>
                        </a:lnTo>
                        <a:lnTo>
                          <a:pt x="53" y="316"/>
                        </a:lnTo>
                        <a:lnTo>
                          <a:pt x="53" y="340"/>
                        </a:lnTo>
                        <a:lnTo>
                          <a:pt x="40" y="376"/>
                        </a:lnTo>
                        <a:lnTo>
                          <a:pt x="26" y="388"/>
                        </a:lnTo>
                        <a:lnTo>
                          <a:pt x="40" y="437"/>
                        </a:lnTo>
                        <a:lnTo>
                          <a:pt x="105" y="400"/>
                        </a:lnTo>
                        <a:lnTo>
                          <a:pt x="157" y="413"/>
                        </a:lnTo>
                        <a:lnTo>
                          <a:pt x="183" y="388"/>
                        </a:lnTo>
                        <a:lnTo>
                          <a:pt x="210" y="352"/>
                        </a:lnTo>
                        <a:lnTo>
                          <a:pt x="249" y="316"/>
                        </a:lnTo>
                        <a:lnTo>
                          <a:pt x="262" y="303"/>
                        </a:lnTo>
                        <a:lnTo>
                          <a:pt x="236" y="255"/>
                        </a:lnTo>
                        <a:lnTo>
                          <a:pt x="262" y="219"/>
                        </a:lnTo>
                        <a:lnTo>
                          <a:pt x="301" y="194"/>
                        </a:lnTo>
                        <a:lnTo>
                          <a:pt x="301" y="146"/>
                        </a:lnTo>
                        <a:lnTo>
                          <a:pt x="314" y="110"/>
                        </a:lnTo>
                        <a:lnTo>
                          <a:pt x="288" y="73"/>
                        </a:lnTo>
                        <a:lnTo>
                          <a:pt x="249" y="37"/>
                        </a:lnTo>
                        <a:lnTo>
                          <a:pt x="196" y="13"/>
                        </a:lnTo>
                        <a:lnTo>
                          <a:pt x="157" y="13"/>
                        </a:lnTo>
                        <a:lnTo>
                          <a:pt x="118" y="0"/>
                        </a:lnTo>
                        <a:lnTo>
                          <a:pt x="92" y="13"/>
                        </a:lnTo>
                        <a:lnTo>
                          <a:pt x="79" y="13"/>
                        </a:lnTo>
                        <a:lnTo>
                          <a:pt x="53" y="13"/>
                        </a:lnTo>
                        <a:lnTo>
                          <a:pt x="0" y="13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82" name="Freeform 78">
                    <a:extLst>
                      <a:ext uri="{FF2B5EF4-FFF2-40B4-BE49-F238E27FC236}">
                        <a16:creationId xmlns:a16="http://schemas.microsoft.com/office/drawing/2014/main" id="{1A347BE9-DF9A-4DAC-A985-9F333006329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240857" y="2638574"/>
                    <a:ext cx="536575" cy="366712"/>
                  </a:xfrm>
                  <a:custGeom>
                    <a:avLst/>
                    <a:gdLst>
                      <a:gd name="T0" fmla="*/ 118229 w 354"/>
                      <a:gd name="T1" fmla="*/ 0 h 255"/>
                      <a:gd name="T2" fmla="*/ 98524 w 354"/>
                      <a:gd name="T3" fmla="*/ 51733 h 255"/>
                      <a:gd name="T4" fmla="*/ 98524 w 354"/>
                      <a:gd name="T5" fmla="*/ 120710 h 255"/>
                      <a:gd name="T6" fmla="*/ 39410 w 354"/>
                      <a:gd name="T7" fmla="*/ 103466 h 255"/>
                      <a:gd name="T8" fmla="*/ 39410 w 354"/>
                      <a:gd name="T9" fmla="*/ 139392 h 255"/>
                      <a:gd name="T10" fmla="*/ 19705 w 354"/>
                      <a:gd name="T11" fmla="*/ 173880 h 255"/>
                      <a:gd name="T12" fmla="*/ 0 w 354"/>
                      <a:gd name="T13" fmla="*/ 225613 h 255"/>
                      <a:gd name="T14" fmla="*/ 39410 w 354"/>
                      <a:gd name="T15" fmla="*/ 296028 h 255"/>
                      <a:gd name="T16" fmla="*/ 98524 w 354"/>
                      <a:gd name="T17" fmla="*/ 260102 h 255"/>
                      <a:gd name="T18" fmla="*/ 118229 w 354"/>
                      <a:gd name="T19" fmla="*/ 277346 h 255"/>
                      <a:gd name="T20" fmla="*/ 137934 w 354"/>
                      <a:gd name="T21" fmla="*/ 330516 h 255"/>
                      <a:gd name="T22" fmla="*/ 197048 w 354"/>
                      <a:gd name="T23" fmla="*/ 330516 h 255"/>
                      <a:gd name="T24" fmla="*/ 218269 w 354"/>
                      <a:gd name="T25" fmla="*/ 313272 h 255"/>
                      <a:gd name="T26" fmla="*/ 297088 w 354"/>
                      <a:gd name="T27" fmla="*/ 313272 h 255"/>
                      <a:gd name="T28" fmla="*/ 356203 w 354"/>
                      <a:gd name="T29" fmla="*/ 296028 h 255"/>
                      <a:gd name="T30" fmla="*/ 375908 w 354"/>
                      <a:gd name="T31" fmla="*/ 313272 h 255"/>
                      <a:gd name="T32" fmla="*/ 454727 w 354"/>
                      <a:gd name="T33" fmla="*/ 365005 h 255"/>
                      <a:gd name="T34" fmla="*/ 475948 w 354"/>
                      <a:gd name="T35" fmla="*/ 313272 h 255"/>
                      <a:gd name="T36" fmla="*/ 535062 w 354"/>
                      <a:gd name="T37" fmla="*/ 330516 h 255"/>
                      <a:gd name="T38" fmla="*/ 515357 w 354"/>
                      <a:gd name="T39" fmla="*/ 277346 h 255"/>
                      <a:gd name="T40" fmla="*/ 495653 w 354"/>
                      <a:gd name="T41" fmla="*/ 225613 h 255"/>
                      <a:gd name="T42" fmla="*/ 475948 w 354"/>
                      <a:gd name="T43" fmla="*/ 173880 h 255"/>
                      <a:gd name="T44" fmla="*/ 475948 w 354"/>
                      <a:gd name="T45" fmla="*/ 103466 h 255"/>
                      <a:gd name="T46" fmla="*/ 475948 w 354"/>
                      <a:gd name="T47" fmla="*/ 68977 h 255"/>
                      <a:gd name="T48" fmla="*/ 435022 w 354"/>
                      <a:gd name="T49" fmla="*/ 17244 h 255"/>
                      <a:gd name="T50" fmla="*/ 375908 w 354"/>
                      <a:gd name="T51" fmla="*/ 51733 h 255"/>
                      <a:gd name="T52" fmla="*/ 336498 w 354"/>
                      <a:gd name="T53" fmla="*/ 51733 h 255"/>
                      <a:gd name="T54" fmla="*/ 257679 w 354"/>
                      <a:gd name="T55" fmla="*/ 17244 h 255"/>
                      <a:gd name="T56" fmla="*/ 218269 w 354"/>
                      <a:gd name="T57" fmla="*/ 0 h 255"/>
                      <a:gd name="T58" fmla="*/ 118229 w 354"/>
                      <a:gd name="T59" fmla="*/ 0 h 255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0" t="0" r="r" b="b"/>
                    <a:pathLst>
                      <a:path w="354" h="255">
                        <a:moveTo>
                          <a:pt x="78" y="0"/>
                        </a:moveTo>
                        <a:lnTo>
                          <a:pt x="65" y="36"/>
                        </a:lnTo>
                        <a:lnTo>
                          <a:pt x="65" y="84"/>
                        </a:lnTo>
                        <a:lnTo>
                          <a:pt x="26" y="72"/>
                        </a:lnTo>
                        <a:lnTo>
                          <a:pt x="26" y="97"/>
                        </a:lnTo>
                        <a:lnTo>
                          <a:pt x="13" y="121"/>
                        </a:lnTo>
                        <a:lnTo>
                          <a:pt x="0" y="157"/>
                        </a:lnTo>
                        <a:lnTo>
                          <a:pt x="26" y="206"/>
                        </a:lnTo>
                        <a:lnTo>
                          <a:pt x="65" y="181"/>
                        </a:lnTo>
                        <a:lnTo>
                          <a:pt x="78" y="193"/>
                        </a:lnTo>
                        <a:lnTo>
                          <a:pt x="91" y="230"/>
                        </a:lnTo>
                        <a:lnTo>
                          <a:pt x="130" y="230"/>
                        </a:lnTo>
                        <a:lnTo>
                          <a:pt x="144" y="218"/>
                        </a:lnTo>
                        <a:lnTo>
                          <a:pt x="196" y="218"/>
                        </a:lnTo>
                        <a:lnTo>
                          <a:pt x="235" y="206"/>
                        </a:lnTo>
                        <a:lnTo>
                          <a:pt x="248" y="218"/>
                        </a:lnTo>
                        <a:lnTo>
                          <a:pt x="300" y="254"/>
                        </a:lnTo>
                        <a:lnTo>
                          <a:pt x="314" y="218"/>
                        </a:lnTo>
                        <a:lnTo>
                          <a:pt x="353" y="230"/>
                        </a:lnTo>
                        <a:lnTo>
                          <a:pt x="340" y="193"/>
                        </a:lnTo>
                        <a:lnTo>
                          <a:pt x="327" y="157"/>
                        </a:lnTo>
                        <a:lnTo>
                          <a:pt x="314" y="121"/>
                        </a:lnTo>
                        <a:lnTo>
                          <a:pt x="314" y="72"/>
                        </a:lnTo>
                        <a:lnTo>
                          <a:pt x="314" y="48"/>
                        </a:lnTo>
                        <a:lnTo>
                          <a:pt x="287" y="12"/>
                        </a:lnTo>
                        <a:lnTo>
                          <a:pt x="248" y="36"/>
                        </a:lnTo>
                        <a:lnTo>
                          <a:pt x="222" y="36"/>
                        </a:lnTo>
                        <a:lnTo>
                          <a:pt x="170" y="12"/>
                        </a:lnTo>
                        <a:lnTo>
                          <a:pt x="144" y="0"/>
                        </a:lnTo>
                        <a:lnTo>
                          <a:pt x="78" y="0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round/>
                        <a:headEnd type="none" w="sm" len="sm"/>
                        <a:tailEnd type="stealth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83" name="Freeform 79">
                    <a:extLst>
                      <a:ext uri="{FF2B5EF4-FFF2-40B4-BE49-F238E27FC236}">
                        <a16:creationId xmlns:a16="http://schemas.microsoft.com/office/drawing/2014/main" id="{BE0F6837-E1B8-48A4-BF18-2F866726BF7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240857" y="2638574"/>
                    <a:ext cx="536575" cy="366712"/>
                  </a:xfrm>
                  <a:custGeom>
                    <a:avLst/>
                    <a:gdLst>
                      <a:gd name="T0" fmla="*/ 118229 w 354"/>
                      <a:gd name="T1" fmla="*/ 0 h 255"/>
                      <a:gd name="T2" fmla="*/ 98524 w 354"/>
                      <a:gd name="T3" fmla="*/ 51733 h 255"/>
                      <a:gd name="T4" fmla="*/ 98524 w 354"/>
                      <a:gd name="T5" fmla="*/ 120710 h 255"/>
                      <a:gd name="T6" fmla="*/ 39410 w 354"/>
                      <a:gd name="T7" fmla="*/ 103466 h 255"/>
                      <a:gd name="T8" fmla="*/ 39410 w 354"/>
                      <a:gd name="T9" fmla="*/ 139392 h 255"/>
                      <a:gd name="T10" fmla="*/ 19705 w 354"/>
                      <a:gd name="T11" fmla="*/ 173880 h 255"/>
                      <a:gd name="T12" fmla="*/ 0 w 354"/>
                      <a:gd name="T13" fmla="*/ 225613 h 255"/>
                      <a:gd name="T14" fmla="*/ 39410 w 354"/>
                      <a:gd name="T15" fmla="*/ 296028 h 255"/>
                      <a:gd name="T16" fmla="*/ 98524 w 354"/>
                      <a:gd name="T17" fmla="*/ 260102 h 255"/>
                      <a:gd name="T18" fmla="*/ 118229 w 354"/>
                      <a:gd name="T19" fmla="*/ 277346 h 255"/>
                      <a:gd name="T20" fmla="*/ 137934 w 354"/>
                      <a:gd name="T21" fmla="*/ 330516 h 255"/>
                      <a:gd name="T22" fmla="*/ 197048 w 354"/>
                      <a:gd name="T23" fmla="*/ 330516 h 255"/>
                      <a:gd name="T24" fmla="*/ 218269 w 354"/>
                      <a:gd name="T25" fmla="*/ 313272 h 255"/>
                      <a:gd name="T26" fmla="*/ 297088 w 354"/>
                      <a:gd name="T27" fmla="*/ 313272 h 255"/>
                      <a:gd name="T28" fmla="*/ 356203 w 354"/>
                      <a:gd name="T29" fmla="*/ 296028 h 255"/>
                      <a:gd name="T30" fmla="*/ 375908 w 354"/>
                      <a:gd name="T31" fmla="*/ 313272 h 255"/>
                      <a:gd name="T32" fmla="*/ 454727 w 354"/>
                      <a:gd name="T33" fmla="*/ 365005 h 255"/>
                      <a:gd name="T34" fmla="*/ 475948 w 354"/>
                      <a:gd name="T35" fmla="*/ 313272 h 255"/>
                      <a:gd name="T36" fmla="*/ 535062 w 354"/>
                      <a:gd name="T37" fmla="*/ 330516 h 255"/>
                      <a:gd name="T38" fmla="*/ 515357 w 354"/>
                      <a:gd name="T39" fmla="*/ 277346 h 255"/>
                      <a:gd name="T40" fmla="*/ 495653 w 354"/>
                      <a:gd name="T41" fmla="*/ 225613 h 255"/>
                      <a:gd name="T42" fmla="*/ 475948 w 354"/>
                      <a:gd name="T43" fmla="*/ 173880 h 255"/>
                      <a:gd name="T44" fmla="*/ 475948 w 354"/>
                      <a:gd name="T45" fmla="*/ 103466 h 255"/>
                      <a:gd name="T46" fmla="*/ 475948 w 354"/>
                      <a:gd name="T47" fmla="*/ 68977 h 255"/>
                      <a:gd name="T48" fmla="*/ 435022 w 354"/>
                      <a:gd name="T49" fmla="*/ 17244 h 255"/>
                      <a:gd name="T50" fmla="*/ 375908 w 354"/>
                      <a:gd name="T51" fmla="*/ 51733 h 255"/>
                      <a:gd name="T52" fmla="*/ 336498 w 354"/>
                      <a:gd name="T53" fmla="*/ 51733 h 255"/>
                      <a:gd name="T54" fmla="*/ 257679 w 354"/>
                      <a:gd name="T55" fmla="*/ 17244 h 255"/>
                      <a:gd name="T56" fmla="*/ 218269 w 354"/>
                      <a:gd name="T57" fmla="*/ 0 h 255"/>
                      <a:gd name="T58" fmla="*/ 118229 w 354"/>
                      <a:gd name="T59" fmla="*/ 0 h 255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0" t="0" r="r" b="b"/>
                    <a:pathLst>
                      <a:path w="354" h="255">
                        <a:moveTo>
                          <a:pt x="78" y="0"/>
                        </a:moveTo>
                        <a:lnTo>
                          <a:pt x="65" y="36"/>
                        </a:lnTo>
                        <a:lnTo>
                          <a:pt x="65" y="84"/>
                        </a:lnTo>
                        <a:lnTo>
                          <a:pt x="26" y="72"/>
                        </a:lnTo>
                        <a:lnTo>
                          <a:pt x="26" y="97"/>
                        </a:lnTo>
                        <a:lnTo>
                          <a:pt x="13" y="121"/>
                        </a:lnTo>
                        <a:lnTo>
                          <a:pt x="0" y="157"/>
                        </a:lnTo>
                        <a:lnTo>
                          <a:pt x="26" y="206"/>
                        </a:lnTo>
                        <a:lnTo>
                          <a:pt x="65" y="181"/>
                        </a:lnTo>
                        <a:lnTo>
                          <a:pt x="78" y="193"/>
                        </a:lnTo>
                        <a:lnTo>
                          <a:pt x="91" y="230"/>
                        </a:lnTo>
                        <a:lnTo>
                          <a:pt x="130" y="230"/>
                        </a:lnTo>
                        <a:lnTo>
                          <a:pt x="144" y="218"/>
                        </a:lnTo>
                        <a:lnTo>
                          <a:pt x="196" y="218"/>
                        </a:lnTo>
                        <a:lnTo>
                          <a:pt x="235" y="206"/>
                        </a:lnTo>
                        <a:lnTo>
                          <a:pt x="248" y="218"/>
                        </a:lnTo>
                        <a:lnTo>
                          <a:pt x="300" y="254"/>
                        </a:lnTo>
                        <a:lnTo>
                          <a:pt x="314" y="218"/>
                        </a:lnTo>
                        <a:lnTo>
                          <a:pt x="353" y="230"/>
                        </a:lnTo>
                        <a:lnTo>
                          <a:pt x="340" y="193"/>
                        </a:lnTo>
                        <a:lnTo>
                          <a:pt x="327" y="157"/>
                        </a:lnTo>
                        <a:lnTo>
                          <a:pt x="314" y="121"/>
                        </a:lnTo>
                        <a:lnTo>
                          <a:pt x="314" y="72"/>
                        </a:lnTo>
                        <a:lnTo>
                          <a:pt x="314" y="48"/>
                        </a:lnTo>
                        <a:lnTo>
                          <a:pt x="287" y="12"/>
                        </a:lnTo>
                        <a:lnTo>
                          <a:pt x="248" y="36"/>
                        </a:lnTo>
                        <a:lnTo>
                          <a:pt x="222" y="36"/>
                        </a:lnTo>
                        <a:lnTo>
                          <a:pt x="170" y="12"/>
                        </a:lnTo>
                        <a:lnTo>
                          <a:pt x="144" y="0"/>
                        </a:lnTo>
                        <a:lnTo>
                          <a:pt x="78" y="0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84" name="Freeform 80">
                    <a:extLst>
                      <a:ext uri="{FF2B5EF4-FFF2-40B4-BE49-F238E27FC236}">
                        <a16:creationId xmlns:a16="http://schemas.microsoft.com/office/drawing/2014/main" id="{989D9C45-EBC3-4D8B-A84F-C4CE6221DB3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96295" y="3110061"/>
                    <a:ext cx="1204912" cy="1358900"/>
                  </a:xfrm>
                  <a:custGeom>
                    <a:avLst/>
                    <a:gdLst>
                      <a:gd name="T0" fmla="*/ 1123655 w 799"/>
                      <a:gd name="T1" fmla="*/ 470058 h 946"/>
                      <a:gd name="T2" fmla="*/ 1006010 w 799"/>
                      <a:gd name="T3" fmla="*/ 401058 h 946"/>
                      <a:gd name="T4" fmla="*/ 1006010 w 799"/>
                      <a:gd name="T5" fmla="*/ 347871 h 946"/>
                      <a:gd name="T6" fmla="*/ 1084440 w 799"/>
                      <a:gd name="T7" fmla="*/ 261622 h 946"/>
                      <a:gd name="T8" fmla="*/ 1006010 w 799"/>
                      <a:gd name="T9" fmla="*/ 156686 h 946"/>
                      <a:gd name="T10" fmla="*/ 947188 w 799"/>
                      <a:gd name="T11" fmla="*/ 86249 h 946"/>
                      <a:gd name="T12" fmla="*/ 867250 w 799"/>
                      <a:gd name="T13" fmla="*/ 122186 h 946"/>
                      <a:gd name="T14" fmla="*/ 808428 w 799"/>
                      <a:gd name="T15" fmla="*/ 156686 h 946"/>
                      <a:gd name="T16" fmla="*/ 729999 w 799"/>
                      <a:gd name="T17" fmla="*/ 191186 h 946"/>
                      <a:gd name="T18" fmla="*/ 690784 w 799"/>
                      <a:gd name="T19" fmla="*/ 139436 h 946"/>
                      <a:gd name="T20" fmla="*/ 630453 w 799"/>
                      <a:gd name="T21" fmla="*/ 0 h 946"/>
                      <a:gd name="T22" fmla="*/ 434379 w 799"/>
                      <a:gd name="T23" fmla="*/ 86249 h 946"/>
                      <a:gd name="T24" fmla="*/ 374049 w 799"/>
                      <a:gd name="T25" fmla="*/ 173936 h 946"/>
                      <a:gd name="T26" fmla="*/ 334834 w 799"/>
                      <a:gd name="T27" fmla="*/ 225685 h 946"/>
                      <a:gd name="T28" fmla="*/ 295619 w 799"/>
                      <a:gd name="T29" fmla="*/ 261622 h 946"/>
                      <a:gd name="T30" fmla="*/ 217190 w 799"/>
                      <a:gd name="T31" fmla="*/ 313372 h 946"/>
                      <a:gd name="T32" fmla="*/ 138760 w 799"/>
                      <a:gd name="T33" fmla="*/ 330622 h 946"/>
                      <a:gd name="T34" fmla="*/ 98037 w 799"/>
                      <a:gd name="T35" fmla="*/ 347871 h 946"/>
                      <a:gd name="T36" fmla="*/ 58822 w 799"/>
                      <a:gd name="T37" fmla="*/ 435558 h 946"/>
                      <a:gd name="T38" fmla="*/ 39215 w 799"/>
                      <a:gd name="T39" fmla="*/ 521807 h 946"/>
                      <a:gd name="T40" fmla="*/ 19607 w 799"/>
                      <a:gd name="T41" fmla="*/ 609494 h 946"/>
                      <a:gd name="T42" fmla="*/ 39215 w 799"/>
                      <a:gd name="T43" fmla="*/ 679931 h 946"/>
                      <a:gd name="T44" fmla="*/ 19607 w 799"/>
                      <a:gd name="T45" fmla="*/ 748930 h 946"/>
                      <a:gd name="T46" fmla="*/ 39215 w 799"/>
                      <a:gd name="T47" fmla="*/ 836616 h 946"/>
                      <a:gd name="T48" fmla="*/ 39215 w 799"/>
                      <a:gd name="T49" fmla="*/ 905616 h 946"/>
                      <a:gd name="T50" fmla="*/ 98037 w 799"/>
                      <a:gd name="T51" fmla="*/ 922865 h 946"/>
                      <a:gd name="T52" fmla="*/ 217190 w 799"/>
                      <a:gd name="T53" fmla="*/ 871116 h 946"/>
                      <a:gd name="T54" fmla="*/ 295619 w 799"/>
                      <a:gd name="T55" fmla="*/ 853866 h 946"/>
                      <a:gd name="T56" fmla="*/ 395165 w 799"/>
                      <a:gd name="T57" fmla="*/ 905616 h 946"/>
                      <a:gd name="T58" fmla="*/ 512809 w 799"/>
                      <a:gd name="T59" fmla="*/ 957365 h 946"/>
                      <a:gd name="T60" fmla="*/ 749606 w 799"/>
                      <a:gd name="T61" fmla="*/ 1027802 h 946"/>
                      <a:gd name="T62" fmla="*/ 808428 w 799"/>
                      <a:gd name="T63" fmla="*/ 1062302 h 946"/>
                      <a:gd name="T64" fmla="*/ 788821 w 799"/>
                      <a:gd name="T65" fmla="*/ 1149988 h 946"/>
                      <a:gd name="T66" fmla="*/ 729999 w 799"/>
                      <a:gd name="T67" fmla="*/ 1218987 h 946"/>
                      <a:gd name="T68" fmla="*/ 749606 w 799"/>
                      <a:gd name="T69" fmla="*/ 1254925 h 946"/>
                      <a:gd name="T70" fmla="*/ 808428 w 799"/>
                      <a:gd name="T71" fmla="*/ 1289424 h 946"/>
                      <a:gd name="T72" fmla="*/ 927581 w 799"/>
                      <a:gd name="T73" fmla="*/ 1341174 h 946"/>
                      <a:gd name="T74" fmla="*/ 966796 w 799"/>
                      <a:gd name="T75" fmla="*/ 1289424 h 946"/>
                      <a:gd name="T76" fmla="*/ 947188 w 799"/>
                      <a:gd name="T77" fmla="*/ 1079551 h 946"/>
                      <a:gd name="T78" fmla="*/ 966796 w 799"/>
                      <a:gd name="T79" fmla="*/ 993302 h 946"/>
                      <a:gd name="T80" fmla="*/ 986403 w 799"/>
                      <a:gd name="T81" fmla="*/ 817929 h 946"/>
                      <a:gd name="T82" fmla="*/ 986403 w 799"/>
                      <a:gd name="T83" fmla="*/ 697180 h 946"/>
                      <a:gd name="T84" fmla="*/ 1143262 w 799"/>
                      <a:gd name="T85" fmla="*/ 697180 h 946"/>
                      <a:gd name="T86" fmla="*/ 1164378 w 799"/>
                      <a:gd name="T87" fmla="*/ 592244 h 94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</a:gdLst>
                    <a:ahLst/>
                    <a:cxnLst>
                      <a:cxn ang="T88">
                        <a:pos x="T0" y="T1"/>
                      </a:cxn>
                      <a:cxn ang="T89">
                        <a:pos x="T2" y="T3"/>
                      </a:cxn>
                      <a:cxn ang="T90">
                        <a:pos x="T4" y="T5"/>
                      </a:cxn>
                      <a:cxn ang="T91">
                        <a:pos x="T6" y="T7"/>
                      </a:cxn>
                      <a:cxn ang="T92">
                        <a:pos x="T8" y="T9"/>
                      </a:cxn>
                      <a:cxn ang="T93">
                        <a:pos x="T10" y="T11"/>
                      </a:cxn>
                      <a:cxn ang="T94">
                        <a:pos x="T12" y="T13"/>
                      </a:cxn>
                      <a:cxn ang="T95">
                        <a:pos x="T14" y="T15"/>
                      </a:cxn>
                      <a:cxn ang="T96">
                        <a:pos x="T16" y="T17"/>
                      </a:cxn>
                      <a:cxn ang="T97">
                        <a:pos x="T18" y="T19"/>
                      </a:cxn>
                      <a:cxn ang="T98">
                        <a:pos x="T20" y="T21"/>
                      </a:cxn>
                      <a:cxn ang="T99">
                        <a:pos x="T22" y="T23"/>
                      </a:cxn>
                      <a:cxn ang="T100">
                        <a:pos x="T24" y="T25"/>
                      </a:cxn>
                      <a:cxn ang="T101">
                        <a:pos x="T26" y="T27"/>
                      </a:cxn>
                      <a:cxn ang="T102">
                        <a:pos x="T28" y="T29"/>
                      </a:cxn>
                      <a:cxn ang="T103">
                        <a:pos x="T30" y="T31"/>
                      </a:cxn>
                      <a:cxn ang="T104">
                        <a:pos x="T32" y="T33"/>
                      </a:cxn>
                      <a:cxn ang="T105">
                        <a:pos x="T34" y="T35"/>
                      </a:cxn>
                      <a:cxn ang="T106">
                        <a:pos x="T36" y="T37"/>
                      </a:cxn>
                      <a:cxn ang="T107">
                        <a:pos x="T38" y="T39"/>
                      </a:cxn>
                      <a:cxn ang="T108">
                        <a:pos x="T40" y="T41"/>
                      </a:cxn>
                      <a:cxn ang="T109">
                        <a:pos x="T42" y="T43"/>
                      </a:cxn>
                      <a:cxn ang="T110">
                        <a:pos x="T44" y="T45"/>
                      </a:cxn>
                      <a:cxn ang="T111">
                        <a:pos x="T46" y="T47"/>
                      </a:cxn>
                      <a:cxn ang="T112">
                        <a:pos x="T48" y="T49"/>
                      </a:cxn>
                      <a:cxn ang="T113">
                        <a:pos x="T50" y="T51"/>
                      </a:cxn>
                      <a:cxn ang="T114">
                        <a:pos x="T52" y="T53"/>
                      </a:cxn>
                      <a:cxn ang="T115">
                        <a:pos x="T54" y="T55"/>
                      </a:cxn>
                      <a:cxn ang="T116">
                        <a:pos x="T56" y="T57"/>
                      </a:cxn>
                      <a:cxn ang="T117">
                        <a:pos x="T58" y="T59"/>
                      </a:cxn>
                      <a:cxn ang="T118">
                        <a:pos x="T60" y="T61"/>
                      </a:cxn>
                      <a:cxn ang="T119">
                        <a:pos x="T62" y="T63"/>
                      </a:cxn>
                      <a:cxn ang="T120">
                        <a:pos x="T64" y="T65"/>
                      </a:cxn>
                      <a:cxn ang="T121">
                        <a:pos x="T66" y="T67"/>
                      </a:cxn>
                      <a:cxn ang="T122">
                        <a:pos x="T68" y="T69"/>
                      </a:cxn>
                      <a:cxn ang="T123">
                        <a:pos x="T70" y="T71"/>
                      </a:cxn>
                      <a:cxn ang="T124">
                        <a:pos x="T72" y="T73"/>
                      </a:cxn>
                      <a:cxn ang="T125">
                        <a:pos x="T74" y="T75"/>
                      </a:cxn>
                      <a:cxn ang="T126">
                        <a:pos x="T76" y="T77"/>
                      </a:cxn>
                      <a:cxn ang="T127">
                        <a:pos x="T78" y="T79"/>
                      </a:cxn>
                      <a:cxn ang="T128">
                        <a:pos x="T80" y="T81"/>
                      </a:cxn>
                      <a:cxn ang="T129">
                        <a:pos x="T82" y="T83"/>
                      </a:cxn>
                      <a:cxn ang="T130">
                        <a:pos x="T84" y="T85"/>
                      </a:cxn>
                      <a:cxn ang="T131">
                        <a:pos x="T86" y="T87"/>
                      </a:cxn>
                    </a:cxnLst>
                    <a:rect l="0" t="0" r="r" b="b"/>
                    <a:pathLst>
                      <a:path w="799" h="946">
                        <a:moveTo>
                          <a:pt x="798" y="363"/>
                        </a:moveTo>
                        <a:lnTo>
                          <a:pt x="745" y="327"/>
                        </a:lnTo>
                        <a:lnTo>
                          <a:pt x="693" y="315"/>
                        </a:lnTo>
                        <a:lnTo>
                          <a:pt x="667" y="279"/>
                        </a:lnTo>
                        <a:lnTo>
                          <a:pt x="654" y="254"/>
                        </a:lnTo>
                        <a:lnTo>
                          <a:pt x="667" y="242"/>
                        </a:lnTo>
                        <a:lnTo>
                          <a:pt x="706" y="218"/>
                        </a:lnTo>
                        <a:lnTo>
                          <a:pt x="719" y="182"/>
                        </a:lnTo>
                        <a:lnTo>
                          <a:pt x="706" y="133"/>
                        </a:lnTo>
                        <a:lnTo>
                          <a:pt x="667" y="109"/>
                        </a:lnTo>
                        <a:lnTo>
                          <a:pt x="654" y="85"/>
                        </a:lnTo>
                        <a:lnTo>
                          <a:pt x="628" y="60"/>
                        </a:lnTo>
                        <a:lnTo>
                          <a:pt x="602" y="73"/>
                        </a:lnTo>
                        <a:lnTo>
                          <a:pt x="575" y="85"/>
                        </a:lnTo>
                        <a:lnTo>
                          <a:pt x="549" y="97"/>
                        </a:lnTo>
                        <a:lnTo>
                          <a:pt x="536" y="109"/>
                        </a:lnTo>
                        <a:lnTo>
                          <a:pt x="510" y="133"/>
                        </a:lnTo>
                        <a:lnTo>
                          <a:pt x="484" y="133"/>
                        </a:lnTo>
                        <a:lnTo>
                          <a:pt x="458" y="121"/>
                        </a:lnTo>
                        <a:lnTo>
                          <a:pt x="458" y="97"/>
                        </a:lnTo>
                        <a:lnTo>
                          <a:pt x="432" y="36"/>
                        </a:lnTo>
                        <a:lnTo>
                          <a:pt x="418" y="0"/>
                        </a:lnTo>
                        <a:lnTo>
                          <a:pt x="340" y="36"/>
                        </a:lnTo>
                        <a:lnTo>
                          <a:pt x="288" y="60"/>
                        </a:lnTo>
                        <a:lnTo>
                          <a:pt x="248" y="97"/>
                        </a:lnTo>
                        <a:lnTo>
                          <a:pt x="248" y="121"/>
                        </a:lnTo>
                        <a:lnTo>
                          <a:pt x="235" y="133"/>
                        </a:lnTo>
                        <a:lnTo>
                          <a:pt x="222" y="157"/>
                        </a:lnTo>
                        <a:lnTo>
                          <a:pt x="209" y="170"/>
                        </a:lnTo>
                        <a:lnTo>
                          <a:pt x="196" y="182"/>
                        </a:lnTo>
                        <a:lnTo>
                          <a:pt x="183" y="194"/>
                        </a:lnTo>
                        <a:lnTo>
                          <a:pt x="144" y="218"/>
                        </a:lnTo>
                        <a:lnTo>
                          <a:pt x="105" y="230"/>
                        </a:lnTo>
                        <a:lnTo>
                          <a:pt x="92" y="230"/>
                        </a:lnTo>
                        <a:lnTo>
                          <a:pt x="79" y="242"/>
                        </a:lnTo>
                        <a:lnTo>
                          <a:pt x="65" y="242"/>
                        </a:lnTo>
                        <a:lnTo>
                          <a:pt x="52" y="266"/>
                        </a:lnTo>
                        <a:lnTo>
                          <a:pt x="39" y="303"/>
                        </a:lnTo>
                        <a:lnTo>
                          <a:pt x="26" y="327"/>
                        </a:lnTo>
                        <a:lnTo>
                          <a:pt x="26" y="363"/>
                        </a:lnTo>
                        <a:lnTo>
                          <a:pt x="26" y="400"/>
                        </a:lnTo>
                        <a:lnTo>
                          <a:pt x="13" y="424"/>
                        </a:lnTo>
                        <a:lnTo>
                          <a:pt x="13" y="448"/>
                        </a:lnTo>
                        <a:lnTo>
                          <a:pt x="26" y="473"/>
                        </a:lnTo>
                        <a:lnTo>
                          <a:pt x="0" y="497"/>
                        </a:lnTo>
                        <a:lnTo>
                          <a:pt x="13" y="521"/>
                        </a:lnTo>
                        <a:lnTo>
                          <a:pt x="13" y="545"/>
                        </a:lnTo>
                        <a:lnTo>
                          <a:pt x="26" y="582"/>
                        </a:lnTo>
                        <a:lnTo>
                          <a:pt x="26" y="606"/>
                        </a:lnTo>
                        <a:lnTo>
                          <a:pt x="26" y="630"/>
                        </a:lnTo>
                        <a:lnTo>
                          <a:pt x="39" y="654"/>
                        </a:lnTo>
                        <a:lnTo>
                          <a:pt x="65" y="642"/>
                        </a:lnTo>
                        <a:lnTo>
                          <a:pt x="105" y="642"/>
                        </a:lnTo>
                        <a:lnTo>
                          <a:pt x="144" y="606"/>
                        </a:lnTo>
                        <a:lnTo>
                          <a:pt x="157" y="594"/>
                        </a:lnTo>
                        <a:lnTo>
                          <a:pt x="196" y="594"/>
                        </a:lnTo>
                        <a:lnTo>
                          <a:pt x="248" y="606"/>
                        </a:lnTo>
                        <a:lnTo>
                          <a:pt x="262" y="630"/>
                        </a:lnTo>
                        <a:lnTo>
                          <a:pt x="288" y="642"/>
                        </a:lnTo>
                        <a:lnTo>
                          <a:pt x="340" y="666"/>
                        </a:lnTo>
                        <a:lnTo>
                          <a:pt x="405" y="715"/>
                        </a:lnTo>
                        <a:lnTo>
                          <a:pt x="497" y="715"/>
                        </a:lnTo>
                        <a:lnTo>
                          <a:pt x="510" y="739"/>
                        </a:lnTo>
                        <a:lnTo>
                          <a:pt x="536" y="739"/>
                        </a:lnTo>
                        <a:lnTo>
                          <a:pt x="536" y="763"/>
                        </a:lnTo>
                        <a:lnTo>
                          <a:pt x="523" y="800"/>
                        </a:lnTo>
                        <a:lnTo>
                          <a:pt x="510" y="824"/>
                        </a:lnTo>
                        <a:lnTo>
                          <a:pt x="484" y="848"/>
                        </a:lnTo>
                        <a:lnTo>
                          <a:pt x="497" y="860"/>
                        </a:lnTo>
                        <a:lnTo>
                          <a:pt x="497" y="873"/>
                        </a:lnTo>
                        <a:lnTo>
                          <a:pt x="510" y="885"/>
                        </a:lnTo>
                        <a:lnTo>
                          <a:pt x="536" y="897"/>
                        </a:lnTo>
                        <a:lnTo>
                          <a:pt x="575" y="921"/>
                        </a:lnTo>
                        <a:lnTo>
                          <a:pt x="615" y="933"/>
                        </a:lnTo>
                        <a:lnTo>
                          <a:pt x="641" y="945"/>
                        </a:lnTo>
                        <a:lnTo>
                          <a:pt x="641" y="897"/>
                        </a:lnTo>
                        <a:lnTo>
                          <a:pt x="641" y="836"/>
                        </a:lnTo>
                        <a:lnTo>
                          <a:pt x="628" y="751"/>
                        </a:lnTo>
                        <a:lnTo>
                          <a:pt x="641" y="715"/>
                        </a:lnTo>
                        <a:lnTo>
                          <a:pt x="641" y="691"/>
                        </a:lnTo>
                        <a:lnTo>
                          <a:pt x="654" y="618"/>
                        </a:lnTo>
                        <a:lnTo>
                          <a:pt x="654" y="569"/>
                        </a:lnTo>
                        <a:lnTo>
                          <a:pt x="667" y="521"/>
                        </a:lnTo>
                        <a:lnTo>
                          <a:pt x="654" y="485"/>
                        </a:lnTo>
                        <a:lnTo>
                          <a:pt x="693" y="485"/>
                        </a:lnTo>
                        <a:lnTo>
                          <a:pt x="758" y="485"/>
                        </a:lnTo>
                        <a:lnTo>
                          <a:pt x="772" y="448"/>
                        </a:lnTo>
                        <a:lnTo>
                          <a:pt x="772" y="412"/>
                        </a:lnTo>
                        <a:lnTo>
                          <a:pt x="798" y="363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round/>
                        <a:headEnd type="none" w="sm" len="sm"/>
                        <a:tailEnd type="stealth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85" name="Freeform 81">
                    <a:extLst>
                      <a:ext uri="{FF2B5EF4-FFF2-40B4-BE49-F238E27FC236}">
                        <a16:creationId xmlns:a16="http://schemas.microsoft.com/office/drawing/2014/main" id="{4EFE7659-0F59-4B68-8FAD-6D0DEA4E0CC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96295" y="3110061"/>
                    <a:ext cx="1204912" cy="1358900"/>
                  </a:xfrm>
                  <a:custGeom>
                    <a:avLst/>
                    <a:gdLst>
                      <a:gd name="T0" fmla="*/ 1123655 w 799"/>
                      <a:gd name="T1" fmla="*/ 470058 h 946"/>
                      <a:gd name="T2" fmla="*/ 1006010 w 799"/>
                      <a:gd name="T3" fmla="*/ 401058 h 946"/>
                      <a:gd name="T4" fmla="*/ 1006010 w 799"/>
                      <a:gd name="T5" fmla="*/ 347871 h 946"/>
                      <a:gd name="T6" fmla="*/ 1084440 w 799"/>
                      <a:gd name="T7" fmla="*/ 261622 h 946"/>
                      <a:gd name="T8" fmla="*/ 1006010 w 799"/>
                      <a:gd name="T9" fmla="*/ 156686 h 946"/>
                      <a:gd name="T10" fmla="*/ 947188 w 799"/>
                      <a:gd name="T11" fmla="*/ 86249 h 946"/>
                      <a:gd name="T12" fmla="*/ 867250 w 799"/>
                      <a:gd name="T13" fmla="*/ 122186 h 946"/>
                      <a:gd name="T14" fmla="*/ 808428 w 799"/>
                      <a:gd name="T15" fmla="*/ 156686 h 946"/>
                      <a:gd name="T16" fmla="*/ 729999 w 799"/>
                      <a:gd name="T17" fmla="*/ 191186 h 946"/>
                      <a:gd name="T18" fmla="*/ 690784 w 799"/>
                      <a:gd name="T19" fmla="*/ 139436 h 946"/>
                      <a:gd name="T20" fmla="*/ 630453 w 799"/>
                      <a:gd name="T21" fmla="*/ 0 h 946"/>
                      <a:gd name="T22" fmla="*/ 434379 w 799"/>
                      <a:gd name="T23" fmla="*/ 86249 h 946"/>
                      <a:gd name="T24" fmla="*/ 374049 w 799"/>
                      <a:gd name="T25" fmla="*/ 173936 h 946"/>
                      <a:gd name="T26" fmla="*/ 334834 w 799"/>
                      <a:gd name="T27" fmla="*/ 225685 h 946"/>
                      <a:gd name="T28" fmla="*/ 295619 w 799"/>
                      <a:gd name="T29" fmla="*/ 261622 h 946"/>
                      <a:gd name="T30" fmla="*/ 217190 w 799"/>
                      <a:gd name="T31" fmla="*/ 313372 h 946"/>
                      <a:gd name="T32" fmla="*/ 138760 w 799"/>
                      <a:gd name="T33" fmla="*/ 330622 h 946"/>
                      <a:gd name="T34" fmla="*/ 98037 w 799"/>
                      <a:gd name="T35" fmla="*/ 347871 h 946"/>
                      <a:gd name="T36" fmla="*/ 58822 w 799"/>
                      <a:gd name="T37" fmla="*/ 435558 h 946"/>
                      <a:gd name="T38" fmla="*/ 39215 w 799"/>
                      <a:gd name="T39" fmla="*/ 521807 h 946"/>
                      <a:gd name="T40" fmla="*/ 19607 w 799"/>
                      <a:gd name="T41" fmla="*/ 609494 h 946"/>
                      <a:gd name="T42" fmla="*/ 39215 w 799"/>
                      <a:gd name="T43" fmla="*/ 679931 h 946"/>
                      <a:gd name="T44" fmla="*/ 19607 w 799"/>
                      <a:gd name="T45" fmla="*/ 748930 h 946"/>
                      <a:gd name="T46" fmla="*/ 39215 w 799"/>
                      <a:gd name="T47" fmla="*/ 836616 h 946"/>
                      <a:gd name="T48" fmla="*/ 39215 w 799"/>
                      <a:gd name="T49" fmla="*/ 905616 h 946"/>
                      <a:gd name="T50" fmla="*/ 98037 w 799"/>
                      <a:gd name="T51" fmla="*/ 922865 h 946"/>
                      <a:gd name="T52" fmla="*/ 217190 w 799"/>
                      <a:gd name="T53" fmla="*/ 871116 h 946"/>
                      <a:gd name="T54" fmla="*/ 295619 w 799"/>
                      <a:gd name="T55" fmla="*/ 853866 h 946"/>
                      <a:gd name="T56" fmla="*/ 395165 w 799"/>
                      <a:gd name="T57" fmla="*/ 905616 h 946"/>
                      <a:gd name="T58" fmla="*/ 512809 w 799"/>
                      <a:gd name="T59" fmla="*/ 957365 h 946"/>
                      <a:gd name="T60" fmla="*/ 749606 w 799"/>
                      <a:gd name="T61" fmla="*/ 1027802 h 946"/>
                      <a:gd name="T62" fmla="*/ 808428 w 799"/>
                      <a:gd name="T63" fmla="*/ 1062302 h 946"/>
                      <a:gd name="T64" fmla="*/ 788821 w 799"/>
                      <a:gd name="T65" fmla="*/ 1149988 h 946"/>
                      <a:gd name="T66" fmla="*/ 729999 w 799"/>
                      <a:gd name="T67" fmla="*/ 1218987 h 946"/>
                      <a:gd name="T68" fmla="*/ 749606 w 799"/>
                      <a:gd name="T69" fmla="*/ 1254925 h 946"/>
                      <a:gd name="T70" fmla="*/ 808428 w 799"/>
                      <a:gd name="T71" fmla="*/ 1289424 h 946"/>
                      <a:gd name="T72" fmla="*/ 927581 w 799"/>
                      <a:gd name="T73" fmla="*/ 1341174 h 946"/>
                      <a:gd name="T74" fmla="*/ 966796 w 799"/>
                      <a:gd name="T75" fmla="*/ 1289424 h 946"/>
                      <a:gd name="T76" fmla="*/ 947188 w 799"/>
                      <a:gd name="T77" fmla="*/ 1079551 h 946"/>
                      <a:gd name="T78" fmla="*/ 966796 w 799"/>
                      <a:gd name="T79" fmla="*/ 993302 h 946"/>
                      <a:gd name="T80" fmla="*/ 986403 w 799"/>
                      <a:gd name="T81" fmla="*/ 817929 h 946"/>
                      <a:gd name="T82" fmla="*/ 986403 w 799"/>
                      <a:gd name="T83" fmla="*/ 697180 h 946"/>
                      <a:gd name="T84" fmla="*/ 1143262 w 799"/>
                      <a:gd name="T85" fmla="*/ 697180 h 946"/>
                      <a:gd name="T86" fmla="*/ 1164378 w 799"/>
                      <a:gd name="T87" fmla="*/ 592244 h 94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</a:gdLst>
                    <a:ahLst/>
                    <a:cxnLst>
                      <a:cxn ang="T88">
                        <a:pos x="T0" y="T1"/>
                      </a:cxn>
                      <a:cxn ang="T89">
                        <a:pos x="T2" y="T3"/>
                      </a:cxn>
                      <a:cxn ang="T90">
                        <a:pos x="T4" y="T5"/>
                      </a:cxn>
                      <a:cxn ang="T91">
                        <a:pos x="T6" y="T7"/>
                      </a:cxn>
                      <a:cxn ang="T92">
                        <a:pos x="T8" y="T9"/>
                      </a:cxn>
                      <a:cxn ang="T93">
                        <a:pos x="T10" y="T11"/>
                      </a:cxn>
                      <a:cxn ang="T94">
                        <a:pos x="T12" y="T13"/>
                      </a:cxn>
                      <a:cxn ang="T95">
                        <a:pos x="T14" y="T15"/>
                      </a:cxn>
                      <a:cxn ang="T96">
                        <a:pos x="T16" y="T17"/>
                      </a:cxn>
                      <a:cxn ang="T97">
                        <a:pos x="T18" y="T19"/>
                      </a:cxn>
                      <a:cxn ang="T98">
                        <a:pos x="T20" y="T21"/>
                      </a:cxn>
                      <a:cxn ang="T99">
                        <a:pos x="T22" y="T23"/>
                      </a:cxn>
                      <a:cxn ang="T100">
                        <a:pos x="T24" y="T25"/>
                      </a:cxn>
                      <a:cxn ang="T101">
                        <a:pos x="T26" y="T27"/>
                      </a:cxn>
                      <a:cxn ang="T102">
                        <a:pos x="T28" y="T29"/>
                      </a:cxn>
                      <a:cxn ang="T103">
                        <a:pos x="T30" y="T31"/>
                      </a:cxn>
                      <a:cxn ang="T104">
                        <a:pos x="T32" y="T33"/>
                      </a:cxn>
                      <a:cxn ang="T105">
                        <a:pos x="T34" y="T35"/>
                      </a:cxn>
                      <a:cxn ang="T106">
                        <a:pos x="T36" y="T37"/>
                      </a:cxn>
                      <a:cxn ang="T107">
                        <a:pos x="T38" y="T39"/>
                      </a:cxn>
                      <a:cxn ang="T108">
                        <a:pos x="T40" y="T41"/>
                      </a:cxn>
                      <a:cxn ang="T109">
                        <a:pos x="T42" y="T43"/>
                      </a:cxn>
                      <a:cxn ang="T110">
                        <a:pos x="T44" y="T45"/>
                      </a:cxn>
                      <a:cxn ang="T111">
                        <a:pos x="T46" y="T47"/>
                      </a:cxn>
                      <a:cxn ang="T112">
                        <a:pos x="T48" y="T49"/>
                      </a:cxn>
                      <a:cxn ang="T113">
                        <a:pos x="T50" y="T51"/>
                      </a:cxn>
                      <a:cxn ang="T114">
                        <a:pos x="T52" y="T53"/>
                      </a:cxn>
                      <a:cxn ang="T115">
                        <a:pos x="T54" y="T55"/>
                      </a:cxn>
                      <a:cxn ang="T116">
                        <a:pos x="T56" y="T57"/>
                      </a:cxn>
                      <a:cxn ang="T117">
                        <a:pos x="T58" y="T59"/>
                      </a:cxn>
                      <a:cxn ang="T118">
                        <a:pos x="T60" y="T61"/>
                      </a:cxn>
                      <a:cxn ang="T119">
                        <a:pos x="T62" y="T63"/>
                      </a:cxn>
                      <a:cxn ang="T120">
                        <a:pos x="T64" y="T65"/>
                      </a:cxn>
                      <a:cxn ang="T121">
                        <a:pos x="T66" y="T67"/>
                      </a:cxn>
                      <a:cxn ang="T122">
                        <a:pos x="T68" y="T69"/>
                      </a:cxn>
                      <a:cxn ang="T123">
                        <a:pos x="T70" y="T71"/>
                      </a:cxn>
                      <a:cxn ang="T124">
                        <a:pos x="T72" y="T73"/>
                      </a:cxn>
                      <a:cxn ang="T125">
                        <a:pos x="T74" y="T75"/>
                      </a:cxn>
                      <a:cxn ang="T126">
                        <a:pos x="T76" y="T77"/>
                      </a:cxn>
                      <a:cxn ang="T127">
                        <a:pos x="T78" y="T79"/>
                      </a:cxn>
                      <a:cxn ang="T128">
                        <a:pos x="T80" y="T81"/>
                      </a:cxn>
                      <a:cxn ang="T129">
                        <a:pos x="T82" y="T83"/>
                      </a:cxn>
                      <a:cxn ang="T130">
                        <a:pos x="T84" y="T85"/>
                      </a:cxn>
                      <a:cxn ang="T131">
                        <a:pos x="T86" y="T87"/>
                      </a:cxn>
                    </a:cxnLst>
                    <a:rect l="0" t="0" r="r" b="b"/>
                    <a:pathLst>
                      <a:path w="799" h="946">
                        <a:moveTo>
                          <a:pt x="798" y="363"/>
                        </a:moveTo>
                        <a:lnTo>
                          <a:pt x="745" y="327"/>
                        </a:lnTo>
                        <a:lnTo>
                          <a:pt x="693" y="315"/>
                        </a:lnTo>
                        <a:lnTo>
                          <a:pt x="667" y="279"/>
                        </a:lnTo>
                        <a:lnTo>
                          <a:pt x="654" y="254"/>
                        </a:lnTo>
                        <a:lnTo>
                          <a:pt x="667" y="242"/>
                        </a:lnTo>
                        <a:lnTo>
                          <a:pt x="706" y="218"/>
                        </a:lnTo>
                        <a:lnTo>
                          <a:pt x="719" y="182"/>
                        </a:lnTo>
                        <a:lnTo>
                          <a:pt x="706" y="133"/>
                        </a:lnTo>
                        <a:lnTo>
                          <a:pt x="667" y="109"/>
                        </a:lnTo>
                        <a:lnTo>
                          <a:pt x="654" y="85"/>
                        </a:lnTo>
                        <a:lnTo>
                          <a:pt x="628" y="60"/>
                        </a:lnTo>
                        <a:lnTo>
                          <a:pt x="602" y="73"/>
                        </a:lnTo>
                        <a:lnTo>
                          <a:pt x="575" y="85"/>
                        </a:lnTo>
                        <a:lnTo>
                          <a:pt x="549" y="97"/>
                        </a:lnTo>
                        <a:lnTo>
                          <a:pt x="536" y="109"/>
                        </a:lnTo>
                        <a:lnTo>
                          <a:pt x="510" y="133"/>
                        </a:lnTo>
                        <a:lnTo>
                          <a:pt x="484" y="133"/>
                        </a:lnTo>
                        <a:lnTo>
                          <a:pt x="458" y="121"/>
                        </a:lnTo>
                        <a:lnTo>
                          <a:pt x="458" y="97"/>
                        </a:lnTo>
                        <a:lnTo>
                          <a:pt x="432" y="36"/>
                        </a:lnTo>
                        <a:lnTo>
                          <a:pt x="418" y="0"/>
                        </a:lnTo>
                        <a:lnTo>
                          <a:pt x="340" y="36"/>
                        </a:lnTo>
                        <a:lnTo>
                          <a:pt x="288" y="60"/>
                        </a:lnTo>
                        <a:lnTo>
                          <a:pt x="248" y="97"/>
                        </a:lnTo>
                        <a:lnTo>
                          <a:pt x="248" y="121"/>
                        </a:lnTo>
                        <a:lnTo>
                          <a:pt x="235" y="133"/>
                        </a:lnTo>
                        <a:lnTo>
                          <a:pt x="222" y="157"/>
                        </a:lnTo>
                        <a:lnTo>
                          <a:pt x="209" y="170"/>
                        </a:lnTo>
                        <a:lnTo>
                          <a:pt x="196" y="182"/>
                        </a:lnTo>
                        <a:lnTo>
                          <a:pt x="183" y="194"/>
                        </a:lnTo>
                        <a:lnTo>
                          <a:pt x="144" y="218"/>
                        </a:lnTo>
                        <a:lnTo>
                          <a:pt x="105" y="230"/>
                        </a:lnTo>
                        <a:lnTo>
                          <a:pt x="92" y="230"/>
                        </a:lnTo>
                        <a:lnTo>
                          <a:pt x="79" y="242"/>
                        </a:lnTo>
                        <a:lnTo>
                          <a:pt x="65" y="242"/>
                        </a:lnTo>
                        <a:lnTo>
                          <a:pt x="52" y="266"/>
                        </a:lnTo>
                        <a:lnTo>
                          <a:pt x="39" y="303"/>
                        </a:lnTo>
                        <a:lnTo>
                          <a:pt x="26" y="327"/>
                        </a:lnTo>
                        <a:lnTo>
                          <a:pt x="26" y="363"/>
                        </a:lnTo>
                        <a:lnTo>
                          <a:pt x="26" y="400"/>
                        </a:lnTo>
                        <a:lnTo>
                          <a:pt x="13" y="424"/>
                        </a:lnTo>
                        <a:lnTo>
                          <a:pt x="13" y="448"/>
                        </a:lnTo>
                        <a:lnTo>
                          <a:pt x="26" y="473"/>
                        </a:lnTo>
                        <a:lnTo>
                          <a:pt x="0" y="497"/>
                        </a:lnTo>
                        <a:lnTo>
                          <a:pt x="13" y="521"/>
                        </a:lnTo>
                        <a:lnTo>
                          <a:pt x="13" y="545"/>
                        </a:lnTo>
                        <a:lnTo>
                          <a:pt x="26" y="582"/>
                        </a:lnTo>
                        <a:lnTo>
                          <a:pt x="26" y="606"/>
                        </a:lnTo>
                        <a:lnTo>
                          <a:pt x="26" y="630"/>
                        </a:lnTo>
                        <a:lnTo>
                          <a:pt x="39" y="654"/>
                        </a:lnTo>
                        <a:lnTo>
                          <a:pt x="65" y="642"/>
                        </a:lnTo>
                        <a:lnTo>
                          <a:pt x="105" y="642"/>
                        </a:lnTo>
                        <a:lnTo>
                          <a:pt x="144" y="606"/>
                        </a:lnTo>
                        <a:lnTo>
                          <a:pt x="157" y="594"/>
                        </a:lnTo>
                        <a:lnTo>
                          <a:pt x="196" y="594"/>
                        </a:lnTo>
                        <a:lnTo>
                          <a:pt x="248" y="606"/>
                        </a:lnTo>
                        <a:lnTo>
                          <a:pt x="262" y="630"/>
                        </a:lnTo>
                        <a:lnTo>
                          <a:pt x="288" y="642"/>
                        </a:lnTo>
                        <a:lnTo>
                          <a:pt x="340" y="666"/>
                        </a:lnTo>
                        <a:lnTo>
                          <a:pt x="405" y="715"/>
                        </a:lnTo>
                        <a:lnTo>
                          <a:pt x="497" y="715"/>
                        </a:lnTo>
                        <a:lnTo>
                          <a:pt x="510" y="739"/>
                        </a:lnTo>
                        <a:lnTo>
                          <a:pt x="536" y="739"/>
                        </a:lnTo>
                        <a:lnTo>
                          <a:pt x="536" y="763"/>
                        </a:lnTo>
                        <a:lnTo>
                          <a:pt x="523" y="800"/>
                        </a:lnTo>
                        <a:lnTo>
                          <a:pt x="510" y="824"/>
                        </a:lnTo>
                        <a:lnTo>
                          <a:pt x="484" y="848"/>
                        </a:lnTo>
                        <a:lnTo>
                          <a:pt x="497" y="860"/>
                        </a:lnTo>
                        <a:lnTo>
                          <a:pt x="497" y="873"/>
                        </a:lnTo>
                        <a:lnTo>
                          <a:pt x="510" y="885"/>
                        </a:lnTo>
                        <a:lnTo>
                          <a:pt x="536" y="897"/>
                        </a:lnTo>
                        <a:lnTo>
                          <a:pt x="575" y="921"/>
                        </a:lnTo>
                        <a:lnTo>
                          <a:pt x="615" y="933"/>
                        </a:lnTo>
                        <a:lnTo>
                          <a:pt x="641" y="945"/>
                        </a:lnTo>
                        <a:lnTo>
                          <a:pt x="641" y="897"/>
                        </a:lnTo>
                        <a:lnTo>
                          <a:pt x="641" y="836"/>
                        </a:lnTo>
                        <a:lnTo>
                          <a:pt x="628" y="751"/>
                        </a:lnTo>
                        <a:lnTo>
                          <a:pt x="641" y="715"/>
                        </a:lnTo>
                        <a:lnTo>
                          <a:pt x="641" y="691"/>
                        </a:lnTo>
                        <a:lnTo>
                          <a:pt x="654" y="618"/>
                        </a:lnTo>
                        <a:lnTo>
                          <a:pt x="654" y="569"/>
                        </a:lnTo>
                        <a:lnTo>
                          <a:pt x="667" y="521"/>
                        </a:lnTo>
                        <a:lnTo>
                          <a:pt x="654" y="485"/>
                        </a:lnTo>
                        <a:lnTo>
                          <a:pt x="693" y="485"/>
                        </a:lnTo>
                        <a:lnTo>
                          <a:pt x="758" y="485"/>
                        </a:lnTo>
                        <a:lnTo>
                          <a:pt x="772" y="448"/>
                        </a:lnTo>
                        <a:lnTo>
                          <a:pt x="772" y="412"/>
                        </a:lnTo>
                        <a:lnTo>
                          <a:pt x="798" y="363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86" name="Freeform 82">
                    <a:extLst>
                      <a:ext uri="{FF2B5EF4-FFF2-40B4-BE49-F238E27FC236}">
                        <a16:creationId xmlns:a16="http://schemas.microsoft.com/office/drawing/2014/main" id="{FCF6C012-FD86-4BE4-B7C1-BC13BBDAD27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643832" y="2062311"/>
                    <a:ext cx="376238" cy="296863"/>
                  </a:xfrm>
                  <a:custGeom>
                    <a:avLst/>
                    <a:gdLst>
                      <a:gd name="T0" fmla="*/ 157063 w 249"/>
                      <a:gd name="T1" fmla="*/ 0 h 207"/>
                      <a:gd name="T2" fmla="*/ 58898 w 249"/>
                      <a:gd name="T3" fmla="*/ 120336 h 207"/>
                      <a:gd name="T4" fmla="*/ 0 w 249"/>
                      <a:gd name="T5" fmla="*/ 242105 h 207"/>
                      <a:gd name="T6" fmla="*/ 117797 w 249"/>
                      <a:gd name="T7" fmla="*/ 242105 h 207"/>
                      <a:gd name="T8" fmla="*/ 196328 w 249"/>
                      <a:gd name="T9" fmla="*/ 295110 h 207"/>
                      <a:gd name="T10" fmla="*/ 296003 w 249"/>
                      <a:gd name="T11" fmla="*/ 156151 h 207"/>
                      <a:gd name="T12" fmla="*/ 374534 w 249"/>
                      <a:gd name="T13" fmla="*/ 103145 h 207"/>
                      <a:gd name="T14" fmla="*/ 315635 w 249"/>
                      <a:gd name="T15" fmla="*/ 34382 h 207"/>
                      <a:gd name="T16" fmla="*/ 157063 w 249"/>
                      <a:gd name="T17" fmla="*/ 0 h 207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0" t="0" r="r" b="b"/>
                    <a:pathLst>
                      <a:path w="249" h="207">
                        <a:moveTo>
                          <a:pt x="104" y="0"/>
                        </a:moveTo>
                        <a:lnTo>
                          <a:pt x="39" y="84"/>
                        </a:lnTo>
                        <a:lnTo>
                          <a:pt x="0" y="169"/>
                        </a:lnTo>
                        <a:lnTo>
                          <a:pt x="78" y="169"/>
                        </a:lnTo>
                        <a:lnTo>
                          <a:pt x="130" y="206"/>
                        </a:lnTo>
                        <a:lnTo>
                          <a:pt x="196" y="109"/>
                        </a:lnTo>
                        <a:lnTo>
                          <a:pt x="248" y="72"/>
                        </a:lnTo>
                        <a:lnTo>
                          <a:pt x="209" y="24"/>
                        </a:lnTo>
                        <a:lnTo>
                          <a:pt x="104" y="0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round/>
                        <a:headEnd type="none" w="sm" len="sm"/>
                        <a:tailEnd type="stealth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87" name="Freeform 83">
                    <a:extLst>
                      <a:ext uri="{FF2B5EF4-FFF2-40B4-BE49-F238E27FC236}">
                        <a16:creationId xmlns:a16="http://schemas.microsoft.com/office/drawing/2014/main" id="{A5289D63-B44C-4084-A70A-85529658662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643832" y="2062311"/>
                    <a:ext cx="376238" cy="296863"/>
                  </a:xfrm>
                  <a:custGeom>
                    <a:avLst/>
                    <a:gdLst>
                      <a:gd name="T0" fmla="*/ 157063 w 249"/>
                      <a:gd name="T1" fmla="*/ 0 h 207"/>
                      <a:gd name="T2" fmla="*/ 58898 w 249"/>
                      <a:gd name="T3" fmla="*/ 120336 h 207"/>
                      <a:gd name="T4" fmla="*/ 0 w 249"/>
                      <a:gd name="T5" fmla="*/ 242105 h 207"/>
                      <a:gd name="T6" fmla="*/ 117797 w 249"/>
                      <a:gd name="T7" fmla="*/ 242105 h 207"/>
                      <a:gd name="T8" fmla="*/ 196328 w 249"/>
                      <a:gd name="T9" fmla="*/ 295110 h 207"/>
                      <a:gd name="T10" fmla="*/ 296003 w 249"/>
                      <a:gd name="T11" fmla="*/ 156151 h 207"/>
                      <a:gd name="T12" fmla="*/ 374534 w 249"/>
                      <a:gd name="T13" fmla="*/ 103145 h 207"/>
                      <a:gd name="T14" fmla="*/ 315635 w 249"/>
                      <a:gd name="T15" fmla="*/ 34382 h 207"/>
                      <a:gd name="T16" fmla="*/ 157063 w 249"/>
                      <a:gd name="T17" fmla="*/ 0 h 207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0" t="0" r="r" b="b"/>
                    <a:pathLst>
                      <a:path w="249" h="207">
                        <a:moveTo>
                          <a:pt x="104" y="0"/>
                        </a:moveTo>
                        <a:lnTo>
                          <a:pt x="39" y="84"/>
                        </a:lnTo>
                        <a:lnTo>
                          <a:pt x="0" y="169"/>
                        </a:lnTo>
                        <a:lnTo>
                          <a:pt x="78" y="169"/>
                        </a:lnTo>
                        <a:lnTo>
                          <a:pt x="130" y="206"/>
                        </a:lnTo>
                        <a:lnTo>
                          <a:pt x="196" y="109"/>
                        </a:lnTo>
                        <a:lnTo>
                          <a:pt x="248" y="72"/>
                        </a:lnTo>
                        <a:lnTo>
                          <a:pt x="209" y="24"/>
                        </a:lnTo>
                        <a:lnTo>
                          <a:pt x="104" y="0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88" name="Freeform 84">
                    <a:extLst>
                      <a:ext uri="{FF2B5EF4-FFF2-40B4-BE49-F238E27FC236}">
                        <a16:creationId xmlns:a16="http://schemas.microsoft.com/office/drawing/2014/main" id="{944F1834-66B6-4091-8CF4-339DCDEA918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826835">
                    <a:off x="5074045" y="4938861"/>
                    <a:ext cx="465137" cy="561975"/>
                  </a:xfrm>
                  <a:custGeom>
                    <a:avLst/>
                    <a:gdLst>
                      <a:gd name="T0" fmla="*/ 95715 w 446"/>
                      <a:gd name="T1" fmla="*/ 560486 h 679"/>
                      <a:gd name="T2" fmla="*/ 203914 w 446"/>
                      <a:gd name="T3" fmla="*/ 520806 h 679"/>
                      <a:gd name="T4" fmla="*/ 244489 w 446"/>
                      <a:gd name="T5" fmla="*/ 470379 h 679"/>
                      <a:gd name="T6" fmla="*/ 299628 w 446"/>
                      <a:gd name="T7" fmla="*/ 410858 h 679"/>
                      <a:gd name="T8" fmla="*/ 353728 w 446"/>
                      <a:gd name="T9" fmla="*/ 390191 h 679"/>
                      <a:gd name="T10" fmla="*/ 407828 w 446"/>
                      <a:gd name="T11" fmla="*/ 380271 h 679"/>
                      <a:gd name="T12" fmla="*/ 449443 w 446"/>
                      <a:gd name="T13" fmla="*/ 330670 h 679"/>
                      <a:gd name="T14" fmla="*/ 462968 w 446"/>
                      <a:gd name="T15" fmla="*/ 280243 h 679"/>
                      <a:gd name="T16" fmla="*/ 462968 w 446"/>
                      <a:gd name="T17" fmla="*/ 229816 h 679"/>
                      <a:gd name="T18" fmla="*/ 435918 w 446"/>
                      <a:gd name="T19" fmla="*/ 180215 h 679"/>
                      <a:gd name="T20" fmla="*/ 435918 w 446"/>
                      <a:gd name="T21" fmla="*/ 129788 h 679"/>
                      <a:gd name="T22" fmla="*/ 462968 w 446"/>
                      <a:gd name="T23" fmla="*/ 49601 h 679"/>
                      <a:gd name="T24" fmla="*/ 421353 w 446"/>
                      <a:gd name="T25" fmla="*/ 0 h 679"/>
                      <a:gd name="T26" fmla="*/ 380778 w 446"/>
                      <a:gd name="T27" fmla="*/ 0 h 679"/>
                      <a:gd name="T28" fmla="*/ 340203 w 446"/>
                      <a:gd name="T29" fmla="*/ 9920 h 679"/>
                      <a:gd name="T30" fmla="*/ 286104 w 446"/>
                      <a:gd name="T31" fmla="*/ 49601 h 679"/>
                      <a:gd name="T32" fmla="*/ 259054 w 446"/>
                      <a:gd name="T33" fmla="*/ 90108 h 679"/>
                      <a:gd name="T34" fmla="*/ 244489 w 446"/>
                      <a:gd name="T35" fmla="*/ 109948 h 679"/>
                      <a:gd name="T36" fmla="*/ 230964 w 446"/>
                      <a:gd name="T37" fmla="*/ 139708 h 679"/>
                      <a:gd name="T38" fmla="*/ 217439 w 446"/>
                      <a:gd name="T39" fmla="*/ 160375 h 679"/>
                      <a:gd name="T40" fmla="*/ 244489 w 446"/>
                      <a:gd name="T41" fmla="*/ 200056 h 679"/>
                      <a:gd name="T42" fmla="*/ 217439 w 446"/>
                      <a:gd name="T43" fmla="*/ 209976 h 679"/>
                      <a:gd name="T44" fmla="*/ 203914 w 446"/>
                      <a:gd name="T45" fmla="*/ 250483 h 679"/>
                      <a:gd name="T46" fmla="*/ 136289 w 446"/>
                      <a:gd name="T47" fmla="*/ 290163 h 679"/>
                      <a:gd name="T48" fmla="*/ 82190 w 446"/>
                      <a:gd name="T49" fmla="*/ 319924 h 679"/>
                      <a:gd name="T50" fmla="*/ 54100 w 446"/>
                      <a:gd name="T51" fmla="*/ 330670 h 679"/>
                      <a:gd name="T52" fmla="*/ 27050 w 446"/>
                      <a:gd name="T53" fmla="*/ 380271 h 679"/>
                      <a:gd name="T54" fmla="*/ 13525 w 446"/>
                      <a:gd name="T55" fmla="*/ 410858 h 679"/>
                      <a:gd name="T56" fmla="*/ 0 w 446"/>
                      <a:gd name="T57" fmla="*/ 440618 h 679"/>
                      <a:gd name="T58" fmla="*/ 13525 w 446"/>
                      <a:gd name="T59" fmla="*/ 480299 h 679"/>
                      <a:gd name="T60" fmla="*/ 27050 w 446"/>
                      <a:gd name="T61" fmla="*/ 480299 h 679"/>
                      <a:gd name="T62" fmla="*/ 27050 w 446"/>
                      <a:gd name="T63" fmla="*/ 520806 h 679"/>
                      <a:gd name="T64" fmla="*/ 95715 w 446"/>
                      <a:gd name="T65" fmla="*/ 560486 h 679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0" t="0" r="r" b="b"/>
                    <a:pathLst>
                      <a:path w="446" h="679">
                        <a:moveTo>
                          <a:pt x="92" y="678"/>
                        </a:moveTo>
                        <a:lnTo>
                          <a:pt x="196" y="630"/>
                        </a:lnTo>
                        <a:lnTo>
                          <a:pt x="235" y="569"/>
                        </a:lnTo>
                        <a:lnTo>
                          <a:pt x="288" y="497"/>
                        </a:lnTo>
                        <a:lnTo>
                          <a:pt x="340" y="472"/>
                        </a:lnTo>
                        <a:lnTo>
                          <a:pt x="392" y="460"/>
                        </a:lnTo>
                        <a:lnTo>
                          <a:pt x="432" y="400"/>
                        </a:lnTo>
                        <a:lnTo>
                          <a:pt x="445" y="339"/>
                        </a:lnTo>
                        <a:lnTo>
                          <a:pt x="445" y="278"/>
                        </a:lnTo>
                        <a:lnTo>
                          <a:pt x="419" y="218"/>
                        </a:lnTo>
                        <a:lnTo>
                          <a:pt x="419" y="157"/>
                        </a:lnTo>
                        <a:lnTo>
                          <a:pt x="445" y="60"/>
                        </a:lnTo>
                        <a:lnTo>
                          <a:pt x="405" y="0"/>
                        </a:lnTo>
                        <a:lnTo>
                          <a:pt x="366" y="0"/>
                        </a:lnTo>
                        <a:lnTo>
                          <a:pt x="327" y="12"/>
                        </a:lnTo>
                        <a:lnTo>
                          <a:pt x="275" y="60"/>
                        </a:lnTo>
                        <a:lnTo>
                          <a:pt x="249" y="109"/>
                        </a:lnTo>
                        <a:lnTo>
                          <a:pt x="235" y="133"/>
                        </a:lnTo>
                        <a:lnTo>
                          <a:pt x="222" y="169"/>
                        </a:lnTo>
                        <a:lnTo>
                          <a:pt x="209" y="194"/>
                        </a:lnTo>
                        <a:lnTo>
                          <a:pt x="235" y="242"/>
                        </a:lnTo>
                        <a:lnTo>
                          <a:pt x="209" y="254"/>
                        </a:lnTo>
                        <a:lnTo>
                          <a:pt x="196" y="303"/>
                        </a:lnTo>
                        <a:lnTo>
                          <a:pt x="131" y="351"/>
                        </a:lnTo>
                        <a:lnTo>
                          <a:pt x="79" y="387"/>
                        </a:lnTo>
                        <a:lnTo>
                          <a:pt x="52" y="400"/>
                        </a:lnTo>
                        <a:lnTo>
                          <a:pt x="26" y="460"/>
                        </a:lnTo>
                        <a:lnTo>
                          <a:pt x="13" y="497"/>
                        </a:lnTo>
                        <a:lnTo>
                          <a:pt x="0" y="533"/>
                        </a:lnTo>
                        <a:lnTo>
                          <a:pt x="13" y="581"/>
                        </a:lnTo>
                        <a:lnTo>
                          <a:pt x="26" y="581"/>
                        </a:lnTo>
                        <a:lnTo>
                          <a:pt x="26" y="630"/>
                        </a:lnTo>
                        <a:lnTo>
                          <a:pt x="92" y="678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round/>
                        <a:headEnd type="none" w="sm" len="sm"/>
                        <a:tailEnd type="stealth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89" name="Freeform 85">
                    <a:extLst>
                      <a:ext uri="{FF2B5EF4-FFF2-40B4-BE49-F238E27FC236}">
                        <a16:creationId xmlns:a16="http://schemas.microsoft.com/office/drawing/2014/main" id="{30BB480B-3214-4942-938E-7305574379D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826835">
                    <a:off x="5074045" y="4938861"/>
                    <a:ext cx="465137" cy="561975"/>
                  </a:xfrm>
                  <a:custGeom>
                    <a:avLst/>
                    <a:gdLst>
                      <a:gd name="T0" fmla="*/ 95715 w 446"/>
                      <a:gd name="T1" fmla="*/ 560486 h 679"/>
                      <a:gd name="T2" fmla="*/ 203914 w 446"/>
                      <a:gd name="T3" fmla="*/ 520806 h 679"/>
                      <a:gd name="T4" fmla="*/ 244489 w 446"/>
                      <a:gd name="T5" fmla="*/ 470379 h 679"/>
                      <a:gd name="T6" fmla="*/ 299628 w 446"/>
                      <a:gd name="T7" fmla="*/ 410858 h 679"/>
                      <a:gd name="T8" fmla="*/ 353728 w 446"/>
                      <a:gd name="T9" fmla="*/ 390191 h 679"/>
                      <a:gd name="T10" fmla="*/ 407828 w 446"/>
                      <a:gd name="T11" fmla="*/ 380271 h 679"/>
                      <a:gd name="T12" fmla="*/ 449443 w 446"/>
                      <a:gd name="T13" fmla="*/ 330670 h 679"/>
                      <a:gd name="T14" fmla="*/ 462968 w 446"/>
                      <a:gd name="T15" fmla="*/ 280243 h 679"/>
                      <a:gd name="T16" fmla="*/ 462968 w 446"/>
                      <a:gd name="T17" fmla="*/ 229816 h 679"/>
                      <a:gd name="T18" fmla="*/ 435918 w 446"/>
                      <a:gd name="T19" fmla="*/ 180215 h 679"/>
                      <a:gd name="T20" fmla="*/ 435918 w 446"/>
                      <a:gd name="T21" fmla="*/ 129788 h 679"/>
                      <a:gd name="T22" fmla="*/ 462968 w 446"/>
                      <a:gd name="T23" fmla="*/ 49601 h 679"/>
                      <a:gd name="T24" fmla="*/ 421353 w 446"/>
                      <a:gd name="T25" fmla="*/ 0 h 679"/>
                      <a:gd name="T26" fmla="*/ 380778 w 446"/>
                      <a:gd name="T27" fmla="*/ 0 h 679"/>
                      <a:gd name="T28" fmla="*/ 340203 w 446"/>
                      <a:gd name="T29" fmla="*/ 9920 h 679"/>
                      <a:gd name="T30" fmla="*/ 286104 w 446"/>
                      <a:gd name="T31" fmla="*/ 49601 h 679"/>
                      <a:gd name="T32" fmla="*/ 259054 w 446"/>
                      <a:gd name="T33" fmla="*/ 90108 h 679"/>
                      <a:gd name="T34" fmla="*/ 244489 w 446"/>
                      <a:gd name="T35" fmla="*/ 109948 h 679"/>
                      <a:gd name="T36" fmla="*/ 230964 w 446"/>
                      <a:gd name="T37" fmla="*/ 139708 h 679"/>
                      <a:gd name="T38" fmla="*/ 217439 w 446"/>
                      <a:gd name="T39" fmla="*/ 160375 h 679"/>
                      <a:gd name="T40" fmla="*/ 244489 w 446"/>
                      <a:gd name="T41" fmla="*/ 200056 h 679"/>
                      <a:gd name="T42" fmla="*/ 217439 w 446"/>
                      <a:gd name="T43" fmla="*/ 209976 h 679"/>
                      <a:gd name="T44" fmla="*/ 203914 w 446"/>
                      <a:gd name="T45" fmla="*/ 250483 h 679"/>
                      <a:gd name="T46" fmla="*/ 136289 w 446"/>
                      <a:gd name="T47" fmla="*/ 290163 h 679"/>
                      <a:gd name="T48" fmla="*/ 82190 w 446"/>
                      <a:gd name="T49" fmla="*/ 319924 h 679"/>
                      <a:gd name="T50" fmla="*/ 54100 w 446"/>
                      <a:gd name="T51" fmla="*/ 330670 h 679"/>
                      <a:gd name="T52" fmla="*/ 27050 w 446"/>
                      <a:gd name="T53" fmla="*/ 380271 h 679"/>
                      <a:gd name="T54" fmla="*/ 13525 w 446"/>
                      <a:gd name="T55" fmla="*/ 410858 h 679"/>
                      <a:gd name="T56" fmla="*/ 0 w 446"/>
                      <a:gd name="T57" fmla="*/ 440618 h 679"/>
                      <a:gd name="T58" fmla="*/ 13525 w 446"/>
                      <a:gd name="T59" fmla="*/ 480299 h 679"/>
                      <a:gd name="T60" fmla="*/ 27050 w 446"/>
                      <a:gd name="T61" fmla="*/ 480299 h 679"/>
                      <a:gd name="T62" fmla="*/ 27050 w 446"/>
                      <a:gd name="T63" fmla="*/ 520806 h 679"/>
                      <a:gd name="T64" fmla="*/ 95715 w 446"/>
                      <a:gd name="T65" fmla="*/ 560486 h 679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0" t="0" r="r" b="b"/>
                    <a:pathLst>
                      <a:path w="446" h="679">
                        <a:moveTo>
                          <a:pt x="92" y="678"/>
                        </a:moveTo>
                        <a:lnTo>
                          <a:pt x="196" y="630"/>
                        </a:lnTo>
                        <a:lnTo>
                          <a:pt x="235" y="569"/>
                        </a:lnTo>
                        <a:lnTo>
                          <a:pt x="288" y="497"/>
                        </a:lnTo>
                        <a:lnTo>
                          <a:pt x="340" y="472"/>
                        </a:lnTo>
                        <a:lnTo>
                          <a:pt x="392" y="460"/>
                        </a:lnTo>
                        <a:lnTo>
                          <a:pt x="432" y="400"/>
                        </a:lnTo>
                        <a:lnTo>
                          <a:pt x="445" y="339"/>
                        </a:lnTo>
                        <a:lnTo>
                          <a:pt x="445" y="278"/>
                        </a:lnTo>
                        <a:lnTo>
                          <a:pt x="419" y="218"/>
                        </a:lnTo>
                        <a:lnTo>
                          <a:pt x="419" y="157"/>
                        </a:lnTo>
                        <a:lnTo>
                          <a:pt x="445" y="60"/>
                        </a:lnTo>
                        <a:lnTo>
                          <a:pt x="405" y="0"/>
                        </a:lnTo>
                        <a:lnTo>
                          <a:pt x="366" y="0"/>
                        </a:lnTo>
                        <a:lnTo>
                          <a:pt x="327" y="12"/>
                        </a:lnTo>
                        <a:lnTo>
                          <a:pt x="275" y="60"/>
                        </a:lnTo>
                        <a:lnTo>
                          <a:pt x="249" y="109"/>
                        </a:lnTo>
                        <a:lnTo>
                          <a:pt x="235" y="133"/>
                        </a:lnTo>
                        <a:lnTo>
                          <a:pt x="222" y="169"/>
                        </a:lnTo>
                        <a:lnTo>
                          <a:pt x="209" y="194"/>
                        </a:lnTo>
                        <a:lnTo>
                          <a:pt x="235" y="242"/>
                        </a:lnTo>
                        <a:lnTo>
                          <a:pt x="209" y="254"/>
                        </a:lnTo>
                        <a:lnTo>
                          <a:pt x="196" y="303"/>
                        </a:lnTo>
                        <a:lnTo>
                          <a:pt x="131" y="351"/>
                        </a:lnTo>
                        <a:lnTo>
                          <a:pt x="79" y="387"/>
                        </a:lnTo>
                        <a:lnTo>
                          <a:pt x="52" y="400"/>
                        </a:lnTo>
                        <a:lnTo>
                          <a:pt x="26" y="460"/>
                        </a:lnTo>
                        <a:lnTo>
                          <a:pt x="13" y="497"/>
                        </a:lnTo>
                        <a:lnTo>
                          <a:pt x="0" y="533"/>
                        </a:lnTo>
                        <a:lnTo>
                          <a:pt x="13" y="581"/>
                        </a:lnTo>
                        <a:lnTo>
                          <a:pt x="26" y="581"/>
                        </a:lnTo>
                        <a:lnTo>
                          <a:pt x="26" y="630"/>
                        </a:lnTo>
                        <a:lnTo>
                          <a:pt x="92" y="678"/>
                        </a:lnTo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cap="rnd" cmpd="sng">
                        <a:solidFill>
                          <a:srgbClr val="002277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90" name="Oval 86">
                    <a:extLst>
                      <a:ext uri="{FF2B5EF4-FFF2-40B4-BE49-F238E27FC236}">
                        <a16:creationId xmlns:a16="http://schemas.microsoft.com/office/drawing/2014/main" id="{0205C154-FB11-4345-BFE7-33E23FDB8B0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299470" y="5273824"/>
                    <a:ext cx="74612" cy="74612"/>
                  </a:xfrm>
                  <a:prstGeom prst="ellipse">
                    <a:avLst/>
                  </a:prstGeom>
                  <a:solidFill>
                    <a:srgbClr val="333333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>
                        <a:solidFill>
                          <a:srgbClr val="002277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1F1F1F"/>
                          </a:outerShdw>
                        </a:effectLst>
                      </a14:hiddenEffects>
                    </a:ext>
                  </a:extLst>
                </p:spPr>
                <p:txBody>
                  <a:bodyPr wrap="none" lIns="68256" tIns="34128" rIns="68256" bIns="34128" anchor="ctr"/>
                  <a:lstStyle/>
                  <a:p>
                    <a:pPr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GB" sz="2100">
                      <a:solidFill>
                        <a:srgbClr val="00007F"/>
                      </a:solidFill>
                      <a:latin typeface="StoneSans" pitchFamily="34" charset="0"/>
                    </a:endParaRPr>
                  </a:p>
                </p:txBody>
              </p:sp>
              <p:sp>
                <p:nvSpPr>
                  <p:cNvPr id="91" name="Freeform 87">
                    <a:extLst>
                      <a:ext uri="{FF2B5EF4-FFF2-40B4-BE49-F238E27FC236}">
                        <a16:creationId xmlns:a16="http://schemas.microsoft.com/office/drawing/2014/main" id="{5D1E9BCC-02CE-48D7-9874-D124B654408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55095" y="2965599"/>
                    <a:ext cx="866775" cy="312737"/>
                  </a:xfrm>
                  <a:custGeom>
                    <a:avLst/>
                    <a:gdLst>
                      <a:gd name="T0" fmla="*/ 0 w 577"/>
                      <a:gd name="T1" fmla="*/ 138851 h 219"/>
                      <a:gd name="T2" fmla="*/ 19521 w 577"/>
                      <a:gd name="T3" fmla="*/ 208992 h 219"/>
                      <a:gd name="T4" fmla="*/ 60065 w 577"/>
                      <a:gd name="T5" fmla="*/ 277702 h 219"/>
                      <a:gd name="T6" fmla="*/ 79586 w 577"/>
                      <a:gd name="T7" fmla="*/ 312057 h 219"/>
                      <a:gd name="T8" fmla="*/ 138150 w 577"/>
                      <a:gd name="T9" fmla="*/ 312057 h 219"/>
                      <a:gd name="T10" fmla="*/ 196714 w 577"/>
                      <a:gd name="T11" fmla="*/ 294879 h 219"/>
                      <a:gd name="T12" fmla="*/ 255277 w 577"/>
                      <a:gd name="T13" fmla="*/ 243347 h 219"/>
                      <a:gd name="T14" fmla="*/ 334864 w 577"/>
                      <a:gd name="T15" fmla="*/ 226169 h 219"/>
                      <a:gd name="T16" fmla="*/ 354385 w 577"/>
                      <a:gd name="T17" fmla="*/ 260524 h 219"/>
                      <a:gd name="T18" fmla="*/ 393427 w 577"/>
                      <a:gd name="T19" fmla="*/ 312057 h 219"/>
                      <a:gd name="T20" fmla="*/ 451991 w 577"/>
                      <a:gd name="T21" fmla="*/ 294879 h 219"/>
                      <a:gd name="T22" fmla="*/ 510554 w 577"/>
                      <a:gd name="T23" fmla="*/ 312057 h 219"/>
                      <a:gd name="T24" fmla="*/ 551099 w 577"/>
                      <a:gd name="T25" fmla="*/ 294879 h 219"/>
                      <a:gd name="T26" fmla="*/ 629183 w 577"/>
                      <a:gd name="T27" fmla="*/ 277702 h 219"/>
                      <a:gd name="T28" fmla="*/ 668226 w 577"/>
                      <a:gd name="T29" fmla="*/ 277702 h 219"/>
                      <a:gd name="T30" fmla="*/ 707268 w 577"/>
                      <a:gd name="T31" fmla="*/ 277702 h 219"/>
                      <a:gd name="T32" fmla="*/ 746311 w 577"/>
                      <a:gd name="T33" fmla="*/ 294879 h 219"/>
                      <a:gd name="T34" fmla="*/ 785353 w 577"/>
                      <a:gd name="T35" fmla="*/ 294879 h 219"/>
                      <a:gd name="T36" fmla="*/ 825897 w 577"/>
                      <a:gd name="T37" fmla="*/ 260524 h 219"/>
                      <a:gd name="T38" fmla="*/ 825897 w 577"/>
                      <a:gd name="T39" fmla="*/ 208992 h 219"/>
                      <a:gd name="T40" fmla="*/ 864939 w 577"/>
                      <a:gd name="T41" fmla="*/ 156028 h 219"/>
                      <a:gd name="T42" fmla="*/ 864939 w 577"/>
                      <a:gd name="T43" fmla="*/ 121673 h 219"/>
                      <a:gd name="T44" fmla="*/ 864939 w 577"/>
                      <a:gd name="T45" fmla="*/ 104496 h 219"/>
                      <a:gd name="T46" fmla="*/ 845418 w 577"/>
                      <a:gd name="T47" fmla="*/ 52964 h 219"/>
                      <a:gd name="T48" fmla="*/ 785353 w 577"/>
                      <a:gd name="T49" fmla="*/ 87319 h 219"/>
                      <a:gd name="T50" fmla="*/ 746311 w 577"/>
                      <a:gd name="T51" fmla="*/ 70141 h 219"/>
                      <a:gd name="T52" fmla="*/ 687747 w 577"/>
                      <a:gd name="T53" fmla="*/ 52964 h 219"/>
                      <a:gd name="T54" fmla="*/ 648705 w 577"/>
                      <a:gd name="T55" fmla="*/ 70141 h 219"/>
                      <a:gd name="T56" fmla="*/ 609662 w 577"/>
                      <a:gd name="T57" fmla="*/ 52964 h 219"/>
                      <a:gd name="T58" fmla="*/ 590141 w 577"/>
                      <a:gd name="T59" fmla="*/ 87319 h 219"/>
                      <a:gd name="T60" fmla="*/ 570620 w 577"/>
                      <a:gd name="T61" fmla="*/ 104496 h 219"/>
                      <a:gd name="T62" fmla="*/ 551099 w 577"/>
                      <a:gd name="T63" fmla="*/ 121673 h 219"/>
                      <a:gd name="T64" fmla="*/ 510554 w 577"/>
                      <a:gd name="T65" fmla="*/ 121673 h 219"/>
                      <a:gd name="T66" fmla="*/ 471512 w 577"/>
                      <a:gd name="T67" fmla="*/ 104496 h 219"/>
                      <a:gd name="T68" fmla="*/ 432470 w 577"/>
                      <a:gd name="T69" fmla="*/ 52964 h 219"/>
                      <a:gd name="T70" fmla="*/ 412948 w 577"/>
                      <a:gd name="T71" fmla="*/ 34355 h 219"/>
                      <a:gd name="T72" fmla="*/ 354385 w 577"/>
                      <a:gd name="T73" fmla="*/ 17177 h 219"/>
                      <a:gd name="T74" fmla="*/ 315342 w 577"/>
                      <a:gd name="T75" fmla="*/ 0 h 219"/>
                      <a:gd name="T76" fmla="*/ 295821 w 577"/>
                      <a:gd name="T77" fmla="*/ 0 h 219"/>
                      <a:gd name="T78" fmla="*/ 274798 w 577"/>
                      <a:gd name="T79" fmla="*/ 0 h 219"/>
                      <a:gd name="T80" fmla="*/ 177192 w 577"/>
                      <a:gd name="T81" fmla="*/ 52964 h 219"/>
                      <a:gd name="T82" fmla="*/ 138150 w 577"/>
                      <a:gd name="T83" fmla="*/ 34355 h 219"/>
                      <a:gd name="T84" fmla="*/ 118629 w 577"/>
                      <a:gd name="T85" fmla="*/ 34355 h 219"/>
                      <a:gd name="T86" fmla="*/ 79586 w 577"/>
                      <a:gd name="T87" fmla="*/ 52964 h 219"/>
                      <a:gd name="T88" fmla="*/ 0 w 577"/>
                      <a:gd name="T89" fmla="*/ 138851 h 219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</a:gdLst>
                    <a:ahLst/>
                    <a:cxnLst>
                      <a:cxn ang="T90">
                        <a:pos x="T0" y="T1"/>
                      </a:cxn>
                      <a:cxn ang="T91">
                        <a:pos x="T2" y="T3"/>
                      </a:cxn>
                      <a:cxn ang="T92">
                        <a:pos x="T4" y="T5"/>
                      </a:cxn>
                      <a:cxn ang="T93">
                        <a:pos x="T6" y="T7"/>
                      </a:cxn>
                      <a:cxn ang="T94">
                        <a:pos x="T8" y="T9"/>
                      </a:cxn>
                      <a:cxn ang="T95">
                        <a:pos x="T10" y="T11"/>
                      </a:cxn>
                      <a:cxn ang="T96">
                        <a:pos x="T12" y="T13"/>
                      </a:cxn>
                      <a:cxn ang="T97">
                        <a:pos x="T14" y="T15"/>
                      </a:cxn>
                      <a:cxn ang="T98">
                        <a:pos x="T16" y="T17"/>
                      </a:cxn>
                      <a:cxn ang="T99">
                        <a:pos x="T18" y="T19"/>
                      </a:cxn>
                      <a:cxn ang="T100">
                        <a:pos x="T20" y="T21"/>
                      </a:cxn>
                      <a:cxn ang="T101">
                        <a:pos x="T22" y="T23"/>
                      </a:cxn>
                      <a:cxn ang="T102">
                        <a:pos x="T24" y="T25"/>
                      </a:cxn>
                      <a:cxn ang="T103">
                        <a:pos x="T26" y="T27"/>
                      </a:cxn>
                      <a:cxn ang="T104">
                        <a:pos x="T28" y="T29"/>
                      </a:cxn>
                      <a:cxn ang="T105">
                        <a:pos x="T30" y="T31"/>
                      </a:cxn>
                      <a:cxn ang="T106">
                        <a:pos x="T32" y="T33"/>
                      </a:cxn>
                      <a:cxn ang="T107">
                        <a:pos x="T34" y="T35"/>
                      </a:cxn>
                      <a:cxn ang="T108">
                        <a:pos x="T36" y="T37"/>
                      </a:cxn>
                      <a:cxn ang="T109">
                        <a:pos x="T38" y="T39"/>
                      </a:cxn>
                      <a:cxn ang="T110">
                        <a:pos x="T40" y="T41"/>
                      </a:cxn>
                      <a:cxn ang="T111">
                        <a:pos x="T42" y="T43"/>
                      </a:cxn>
                      <a:cxn ang="T112">
                        <a:pos x="T44" y="T45"/>
                      </a:cxn>
                      <a:cxn ang="T113">
                        <a:pos x="T46" y="T47"/>
                      </a:cxn>
                      <a:cxn ang="T114">
                        <a:pos x="T48" y="T49"/>
                      </a:cxn>
                      <a:cxn ang="T115">
                        <a:pos x="T50" y="T51"/>
                      </a:cxn>
                      <a:cxn ang="T116">
                        <a:pos x="T52" y="T53"/>
                      </a:cxn>
                      <a:cxn ang="T117">
                        <a:pos x="T54" y="T55"/>
                      </a:cxn>
                      <a:cxn ang="T118">
                        <a:pos x="T56" y="T57"/>
                      </a:cxn>
                      <a:cxn ang="T119">
                        <a:pos x="T58" y="T59"/>
                      </a:cxn>
                      <a:cxn ang="T120">
                        <a:pos x="T60" y="T61"/>
                      </a:cxn>
                      <a:cxn ang="T121">
                        <a:pos x="T62" y="T63"/>
                      </a:cxn>
                      <a:cxn ang="T122">
                        <a:pos x="T64" y="T65"/>
                      </a:cxn>
                      <a:cxn ang="T123">
                        <a:pos x="T66" y="T67"/>
                      </a:cxn>
                      <a:cxn ang="T124">
                        <a:pos x="T68" y="T69"/>
                      </a:cxn>
                      <a:cxn ang="T125">
                        <a:pos x="T70" y="T71"/>
                      </a:cxn>
                      <a:cxn ang="T126">
                        <a:pos x="T72" y="T73"/>
                      </a:cxn>
                      <a:cxn ang="T127">
                        <a:pos x="T74" y="T75"/>
                      </a:cxn>
                      <a:cxn ang="T128">
                        <a:pos x="T76" y="T77"/>
                      </a:cxn>
                      <a:cxn ang="T129">
                        <a:pos x="T78" y="T79"/>
                      </a:cxn>
                      <a:cxn ang="T130">
                        <a:pos x="T80" y="T81"/>
                      </a:cxn>
                      <a:cxn ang="T131">
                        <a:pos x="T82" y="T83"/>
                      </a:cxn>
                      <a:cxn ang="T132">
                        <a:pos x="T84" y="T85"/>
                      </a:cxn>
                      <a:cxn ang="T133">
                        <a:pos x="T86" y="T87"/>
                      </a:cxn>
                      <a:cxn ang="T134">
                        <a:pos x="T88" y="T89"/>
                      </a:cxn>
                    </a:cxnLst>
                    <a:rect l="0" t="0" r="r" b="b"/>
                    <a:pathLst>
                      <a:path w="577" h="219">
                        <a:moveTo>
                          <a:pt x="0" y="97"/>
                        </a:moveTo>
                        <a:lnTo>
                          <a:pt x="13" y="146"/>
                        </a:lnTo>
                        <a:lnTo>
                          <a:pt x="40" y="194"/>
                        </a:lnTo>
                        <a:lnTo>
                          <a:pt x="53" y="218"/>
                        </a:lnTo>
                        <a:lnTo>
                          <a:pt x="92" y="218"/>
                        </a:lnTo>
                        <a:lnTo>
                          <a:pt x="131" y="206"/>
                        </a:lnTo>
                        <a:lnTo>
                          <a:pt x="170" y="170"/>
                        </a:lnTo>
                        <a:lnTo>
                          <a:pt x="223" y="158"/>
                        </a:lnTo>
                        <a:lnTo>
                          <a:pt x="236" y="182"/>
                        </a:lnTo>
                        <a:lnTo>
                          <a:pt x="262" y="218"/>
                        </a:lnTo>
                        <a:lnTo>
                          <a:pt x="301" y="206"/>
                        </a:lnTo>
                        <a:lnTo>
                          <a:pt x="340" y="218"/>
                        </a:lnTo>
                        <a:lnTo>
                          <a:pt x="367" y="206"/>
                        </a:lnTo>
                        <a:lnTo>
                          <a:pt x="419" y="194"/>
                        </a:lnTo>
                        <a:lnTo>
                          <a:pt x="445" y="194"/>
                        </a:lnTo>
                        <a:lnTo>
                          <a:pt x="471" y="194"/>
                        </a:lnTo>
                        <a:lnTo>
                          <a:pt x="497" y="206"/>
                        </a:lnTo>
                        <a:lnTo>
                          <a:pt x="523" y="206"/>
                        </a:lnTo>
                        <a:lnTo>
                          <a:pt x="550" y="182"/>
                        </a:lnTo>
                        <a:lnTo>
                          <a:pt x="550" y="146"/>
                        </a:lnTo>
                        <a:lnTo>
                          <a:pt x="576" y="109"/>
                        </a:lnTo>
                        <a:lnTo>
                          <a:pt x="576" y="85"/>
                        </a:lnTo>
                        <a:lnTo>
                          <a:pt x="576" y="73"/>
                        </a:lnTo>
                        <a:lnTo>
                          <a:pt x="563" y="37"/>
                        </a:lnTo>
                        <a:lnTo>
                          <a:pt x="523" y="61"/>
                        </a:lnTo>
                        <a:lnTo>
                          <a:pt x="497" y="49"/>
                        </a:lnTo>
                        <a:lnTo>
                          <a:pt x="458" y="37"/>
                        </a:lnTo>
                        <a:lnTo>
                          <a:pt x="432" y="49"/>
                        </a:lnTo>
                        <a:lnTo>
                          <a:pt x="406" y="37"/>
                        </a:lnTo>
                        <a:lnTo>
                          <a:pt x="393" y="61"/>
                        </a:lnTo>
                        <a:lnTo>
                          <a:pt x="380" y="73"/>
                        </a:lnTo>
                        <a:lnTo>
                          <a:pt x="367" y="85"/>
                        </a:lnTo>
                        <a:lnTo>
                          <a:pt x="340" y="85"/>
                        </a:lnTo>
                        <a:lnTo>
                          <a:pt x="314" y="73"/>
                        </a:lnTo>
                        <a:lnTo>
                          <a:pt x="288" y="37"/>
                        </a:lnTo>
                        <a:lnTo>
                          <a:pt x="275" y="24"/>
                        </a:lnTo>
                        <a:lnTo>
                          <a:pt x="236" y="12"/>
                        </a:lnTo>
                        <a:lnTo>
                          <a:pt x="210" y="0"/>
                        </a:lnTo>
                        <a:lnTo>
                          <a:pt x="197" y="0"/>
                        </a:lnTo>
                        <a:lnTo>
                          <a:pt x="183" y="0"/>
                        </a:lnTo>
                        <a:lnTo>
                          <a:pt x="118" y="37"/>
                        </a:lnTo>
                        <a:lnTo>
                          <a:pt x="92" y="24"/>
                        </a:lnTo>
                        <a:lnTo>
                          <a:pt x="79" y="24"/>
                        </a:lnTo>
                        <a:lnTo>
                          <a:pt x="53" y="37"/>
                        </a:lnTo>
                        <a:lnTo>
                          <a:pt x="0" y="97"/>
                        </a:lnTo>
                      </a:path>
                    </a:pathLst>
                  </a:custGeom>
                  <a:solidFill>
                    <a:srgbClr val="6DA400"/>
                  </a:solidFill>
                  <a:ln w="3175" cap="rnd" cmpd="sng">
                    <a:solidFill>
                      <a:srgbClr val="4D4D4D"/>
                    </a:solidFill>
                    <a:round/>
                    <a:headEnd type="none" w="sm" len="sm"/>
                    <a:tailEnd type="stealth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92" name="Freeform 88">
                    <a:extLst>
                      <a:ext uri="{FF2B5EF4-FFF2-40B4-BE49-F238E27FC236}">
                        <a16:creationId xmlns:a16="http://schemas.microsoft.com/office/drawing/2014/main" id="{1BB22632-8861-4585-BEB1-CF01256BAE5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55095" y="2965599"/>
                    <a:ext cx="866775" cy="312737"/>
                  </a:xfrm>
                  <a:custGeom>
                    <a:avLst/>
                    <a:gdLst>
                      <a:gd name="T0" fmla="*/ 0 w 577"/>
                      <a:gd name="T1" fmla="*/ 138851 h 219"/>
                      <a:gd name="T2" fmla="*/ 19521 w 577"/>
                      <a:gd name="T3" fmla="*/ 208992 h 219"/>
                      <a:gd name="T4" fmla="*/ 60065 w 577"/>
                      <a:gd name="T5" fmla="*/ 277702 h 219"/>
                      <a:gd name="T6" fmla="*/ 79586 w 577"/>
                      <a:gd name="T7" fmla="*/ 312057 h 219"/>
                      <a:gd name="T8" fmla="*/ 138150 w 577"/>
                      <a:gd name="T9" fmla="*/ 312057 h 219"/>
                      <a:gd name="T10" fmla="*/ 196714 w 577"/>
                      <a:gd name="T11" fmla="*/ 294879 h 219"/>
                      <a:gd name="T12" fmla="*/ 255277 w 577"/>
                      <a:gd name="T13" fmla="*/ 243347 h 219"/>
                      <a:gd name="T14" fmla="*/ 334864 w 577"/>
                      <a:gd name="T15" fmla="*/ 226169 h 219"/>
                      <a:gd name="T16" fmla="*/ 354385 w 577"/>
                      <a:gd name="T17" fmla="*/ 260524 h 219"/>
                      <a:gd name="T18" fmla="*/ 393427 w 577"/>
                      <a:gd name="T19" fmla="*/ 312057 h 219"/>
                      <a:gd name="T20" fmla="*/ 451991 w 577"/>
                      <a:gd name="T21" fmla="*/ 294879 h 219"/>
                      <a:gd name="T22" fmla="*/ 510554 w 577"/>
                      <a:gd name="T23" fmla="*/ 312057 h 219"/>
                      <a:gd name="T24" fmla="*/ 551099 w 577"/>
                      <a:gd name="T25" fmla="*/ 294879 h 219"/>
                      <a:gd name="T26" fmla="*/ 629183 w 577"/>
                      <a:gd name="T27" fmla="*/ 277702 h 219"/>
                      <a:gd name="T28" fmla="*/ 668226 w 577"/>
                      <a:gd name="T29" fmla="*/ 277702 h 219"/>
                      <a:gd name="T30" fmla="*/ 707268 w 577"/>
                      <a:gd name="T31" fmla="*/ 277702 h 219"/>
                      <a:gd name="T32" fmla="*/ 746311 w 577"/>
                      <a:gd name="T33" fmla="*/ 294879 h 219"/>
                      <a:gd name="T34" fmla="*/ 785353 w 577"/>
                      <a:gd name="T35" fmla="*/ 294879 h 219"/>
                      <a:gd name="T36" fmla="*/ 825897 w 577"/>
                      <a:gd name="T37" fmla="*/ 260524 h 219"/>
                      <a:gd name="T38" fmla="*/ 825897 w 577"/>
                      <a:gd name="T39" fmla="*/ 208992 h 219"/>
                      <a:gd name="T40" fmla="*/ 864939 w 577"/>
                      <a:gd name="T41" fmla="*/ 156028 h 219"/>
                      <a:gd name="T42" fmla="*/ 864939 w 577"/>
                      <a:gd name="T43" fmla="*/ 121673 h 219"/>
                      <a:gd name="T44" fmla="*/ 864939 w 577"/>
                      <a:gd name="T45" fmla="*/ 104496 h 219"/>
                      <a:gd name="T46" fmla="*/ 845418 w 577"/>
                      <a:gd name="T47" fmla="*/ 52964 h 219"/>
                      <a:gd name="T48" fmla="*/ 785353 w 577"/>
                      <a:gd name="T49" fmla="*/ 87319 h 219"/>
                      <a:gd name="T50" fmla="*/ 746311 w 577"/>
                      <a:gd name="T51" fmla="*/ 70141 h 219"/>
                      <a:gd name="T52" fmla="*/ 687747 w 577"/>
                      <a:gd name="T53" fmla="*/ 52964 h 219"/>
                      <a:gd name="T54" fmla="*/ 648705 w 577"/>
                      <a:gd name="T55" fmla="*/ 70141 h 219"/>
                      <a:gd name="T56" fmla="*/ 609662 w 577"/>
                      <a:gd name="T57" fmla="*/ 52964 h 219"/>
                      <a:gd name="T58" fmla="*/ 590141 w 577"/>
                      <a:gd name="T59" fmla="*/ 87319 h 219"/>
                      <a:gd name="T60" fmla="*/ 570620 w 577"/>
                      <a:gd name="T61" fmla="*/ 104496 h 219"/>
                      <a:gd name="T62" fmla="*/ 551099 w 577"/>
                      <a:gd name="T63" fmla="*/ 121673 h 219"/>
                      <a:gd name="T64" fmla="*/ 510554 w 577"/>
                      <a:gd name="T65" fmla="*/ 121673 h 219"/>
                      <a:gd name="T66" fmla="*/ 471512 w 577"/>
                      <a:gd name="T67" fmla="*/ 104496 h 219"/>
                      <a:gd name="T68" fmla="*/ 432470 w 577"/>
                      <a:gd name="T69" fmla="*/ 52964 h 219"/>
                      <a:gd name="T70" fmla="*/ 412948 w 577"/>
                      <a:gd name="T71" fmla="*/ 34355 h 219"/>
                      <a:gd name="T72" fmla="*/ 354385 w 577"/>
                      <a:gd name="T73" fmla="*/ 17177 h 219"/>
                      <a:gd name="T74" fmla="*/ 315342 w 577"/>
                      <a:gd name="T75" fmla="*/ 0 h 219"/>
                      <a:gd name="T76" fmla="*/ 295821 w 577"/>
                      <a:gd name="T77" fmla="*/ 0 h 219"/>
                      <a:gd name="T78" fmla="*/ 274798 w 577"/>
                      <a:gd name="T79" fmla="*/ 0 h 219"/>
                      <a:gd name="T80" fmla="*/ 177192 w 577"/>
                      <a:gd name="T81" fmla="*/ 52964 h 219"/>
                      <a:gd name="T82" fmla="*/ 138150 w 577"/>
                      <a:gd name="T83" fmla="*/ 34355 h 219"/>
                      <a:gd name="T84" fmla="*/ 118629 w 577"/>
                      <a:gd name="T85" fmla="*/ 34355 h 219"/>
                      <a:gd name="T86" fmla="*/ 79586 w 577"/>
                      <a:gd name="T87" fmla="*/ 52964 h 219"/>
                      <a:gd name="T88" fmla="*/ 0 w 577"/>
                      <a:gd name="T89" fmla="*/ 138851 h 219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</a:gdLst>
                    <a:ahLst/>
                    <a:cxnLst>
                      <a:cxn ang="T90">
                        <a:pos x="T0" y="T1"/>
                      </a:cxn>
                      <a:cxn ang="T91">
                        <a:pos x="T2" y="T3"/>
                      </a:cxn>
                      <a:cxn ang="T92">
                        <a:pos x="T4" y="T5"/>
                      </a:cxn>
                      <a:cxn ang="T93">
                        <a:pos x="T6" y="T7"/>
                      </a:cxn>
                      <a:cxn ang="T94">
                        <a:pos x="T8" y="T9"/>
                      </a:cxn>
                      <a:cxn ang="T95">
                        <a:pos x="T10" y="T11"/>
                      </a:cxn>
                      <a:cxn ang="T96">
                        <a:pos x="T12" y="T13"/>
                      </a:cxn>
                      <a:cxn ang="T97">
                        <a:pos x="T14" y="T15"/>
                      </a:cxn>
                      <a:cxn ang="T98">
                        <a:pos x="T16" y="T17"/>
                      </a:cxn>
                      <a:cxn ang="T99">
                        <a:pos x="T18" y="T19"/>
                      </a:cxn>
                      <a:cxn ang="T100">
                        <a:pos x="T20" y="T21"/>
                      </a:cxn>
                      <a:cxn ang="T101">
                        <a:pos x="T22" y="T23"/>
                      </a:cxn>
                      <a:cxn ang="T102">
                        <a:pos x="T24" y="T25"/>
                      </a:cxn>
                      <a:cxn ang="T103">
                        <a:pos x="T26" y="T27"/>
                      </a:cxn>
                      <a:cxn ang="T104">
                        <a:pos x="T28" y="T29"/>
                      </a:cxn>
                      <a:cxn ang="T105">
                        <a:pos x="T30" y="T31"/>
                      </a:cxn>
                      <a:cxn ang="T106">
                        <a:pos x="T32" y="T33"/>
                      </a:cxn>
                      <a:cxn ang="T107">
                        <a:pos x="T34" y="T35"/>
                      </a:cxn>
                      <a:cxn ang="T108">
                        <a:pos x="T36" y="T37"/>
                      </a:cxn>
                      <a:cxn ang="T109">
                        <a:pos x="T38" y="T39"/>
                      </a:cxn>
                      <a:cxn ang="T110">
                        <a:pos x="T40" y="T41"/>
                      </a:cxn>
                      <a:cxn ang="T111">
                        <a:pos x="T42" y="T43"/>
                      </a:cxn>
                      <a:cxn ang="T112">
                        <a:pos x="T44" y="T45"/>
                      </a:cxn>
                      <a:cxn ang="T113">
                        <a:pos x="T46" y="T47"/>
                      </a:cxn>
                      <a:cxn ang="T114">
                        <a:pos x="T48" y="T49"/>
                      </a:cxn>
                      <a:cxn ang="T115">
                        <a:pos x="T50" y="T51"/>
                      </a:cxn>
                      <a:cxn ang="T116">
                        <a:pos x="T52" y="T53"/>
                      </a:cxn>
                      <a:cxn ang="T117">
                        <a:pos x="T54" y="T55"/>
                      </a:cxn>
                      <a:cxn ang="T118">
                        <a:pos x="T56" y="T57"/>
                      </a:cxn>
                      <a:cxn ang="T119">
                        <a:pos x="T58" y="T59"/>
                      </a:cxn>
                      <a:cxn ang="T120">
                        <a:pos x="T60" y="T61"/>
                      </a:cxn>
                      <a:cxn ang="T121">
                        <a:pos x="T62" y="T63"/>
                      </a:cxn>
                      <a:cxn ang="T122">
                        <a:pos x="T64" y="T65"/>
                      </a:cxn>
                      <a:cxn ang="T123">
                        <a:pos x="T66" y="T67"/>
                      </a:cxn>
                      <a:cxn ang="T124">
                        <a:pos x="T68" y="T69"/>
                      </a:cxn>
                      <a:cxn ang="T125">
                        <a:pos x="T70" y="T71"/>
                      </a:cxn>
                      <a:cxn ang="T126">
                        <a:pos x="T72" y="T73"/>
                      </a:cxn>
                      <a:cxn ang="T127">
                        <a:pos x="T74" y="T75"/>
                      </a:cxn>
                      <a:cxn ang="T128">
                        <a:pos x="T76" y="T77"/>
                      </a:cxn>
                      <a:cxn ang="T129">
                        <a:pos x="T78" y="T79"/>
                      </a:cxn>
                      <a:cxn ang="T130">
                        <a:pos x="T80" y="T81"/>
                      </a:cxn>
                      <a:cxn ang="T131">
                        <a:pos x="T82" y="T83"/>
                      </a:cxn>
                      <a:cxn ang="T132">
                        <a:pos x="T84" y="T85"/>
                      </a:cxn>
                      <a:cxn ang="T133">
                        <a:pos x="T86" y="T87"/>
                      </a:cxn>
                      <a:cxn ang="T134">
                        <a:pos x="T88" y="T89"/>
                      </a:cxn>
                    </a:cxnLst>
                    <a:rect l="0" t="0" r="r" b="b"/>
                    <a:pathLst>
                      <a:path w="577" h="219">
                        <a:moveTo>
                          <a:pt x="0" y="97"/>
                        </a:moveTo>
                        <a:lnTo>
                          <a:pt x="13" y="146"/>
                        </a:lnTo>
                        <a:lnTo>
                          <a:pt x="40" y="194"/>
                        </a:lnTo>
                        <a:lnTo>
                          <a:pt x="53" y="218"/>
                        </a:lnTo>
                        <a:lnTo>
                          <a:pt x="92" y="218"/>
                        </a:lnTo>
                        <a:lnTo>
                          <a:pt x="131" y="206"/>
                        </a:lnTo>
                        <a:lnTo>
                          <a:pt x="170" y="170"/>
                        </a:lnTo>
                        <a:lnTo>
                          <a:pt x="223" y="158"/>
                        </a:lnTo>
                        <a:lnTo>
                          <a:pt x="236" y="182"/>
                        </a:lnTo>
                        <a:lnTo>
                          <a:pt x="262" y="218"/>
                        </a:lnTo>
                        <a:lnTo>
                          <a:pt x="301" y="206"/>
                        </a:lnTo>
                        <a:lnTo>
                          <a:pt x="340" y="218"/>
                        </a:lnTo>
                        <a:lnTo>
                          <a:pt x="367" y="206"/>
                        </a:lnTo>
                        <a:lnTo>
                          <a:pt x="419" y="194"/>
                        </a:lnTo>
                        <a:lnTo>
                          <a:pt x="445" y="194"/>
                        </a:lnTo>
                        <a:lnTo>
                          <a:pt x="471" y="194"/>
                        </a:lnTo>
                        <a:lnTo>
                          <a:pt x="497" y="206"/>
                        </a:lnTo>
                        <a:lnTo>
                          <a:pt x="523" y="206"/>
                        </a:lnTo>
                        <a:lnTo>
                          <a:pt x="550" y="182"/>
                        </a:lnTo>
                        <a:lnTo>
                          <a:pt x="550" y="146"/>
                        </a:lnTo>
                        <a:lnTo>
                          <a:pt x="576" y="109"/>
                        </a:lnTo>
                        <a:lnTo>
                          <a:pt x="576" y="85"/>
                        </a:lnTo>
                        <a:lnTo>
                          <a:pt x="576" y="73"/>
                        </a:lnTo>
                        <a:lnTo>
                          <a:pt x="563" y="37"/>
                        </a:lnTo>
                        <a:lnTo>
                          <a:pt x="523" y="61"/>
                        </a:lnTo>
                        <a:lnTo>
                          <a:pt x="497" y="49"/>
                        </a:lnTo>
                        <a:lnTo>
                          <a:pt x="458" y="37"/>
                        </a:lnTo>
                        <a:lnTo>
                          <a:pt x="432" y="49"/>
                        </a:lnTo>
                        <a:lnTo>
                          <a:pt x="406" y="37"/>
                        </a:lnTo>
                        <a:lnTo>
                          <a:pt x="393" y="61"/>
                        </a:lnTo>
                        <a:lnTo>
                          <a:pt x="380" y="73"/>
                        </a:lnTo>
                        <a:lnTo>
                          <a:pt x="367" y="85"/>
                        </a:lnTo>
                        <a:lnTo>
                          <a:pt x="340" y="85"/>
                        </a:lnTo>
                        <a:lnTo>
                          <a:pt x="314" y="73"/>
                        </a:lnTo>
                        <a:lnTo>
                          <a:pt x="288" y="37"/>
                        </a:lnTo>
                        <a:lnTo>
                          <a:pt x="275" y="24"/>
                        </a:lnTo>
                        <a:lnTo>
                          <a:pt x="236" y="12"/>
                        </a:lnTo>
                        <a:lnTo>
                          <a:pt x="210" y="0"/>
                        </a:lnTo>
                        <a:lnTo>
                          <a:pt x="197" y="0"/>
                        </a:lnTo>
                        <a:lnTo>
                          <a:pt x="183" y="0"/>
                        </a:lnTo>
                        <a:lnTo>
                          <a:pt x="118" y="37"/>
                        </a:lnTo>
                        <a:lnTo>
                          <a:pt x="92" y="24"/>
                        </a:lnTo>
                        <a:lnTo>
                          <a:pt x="79" y="24"/>
                        </a:lnTo>
                        <a:lnTo>
                          <a:pt x="53" y="37"/>
                        </a:lnTo>
                        <a:lnTo>
                          <a:pt x="0" y="97"/>
                        </a:lnTo>
                      </a:path>
                    </a:pathLst>
                  </a:custGeom>
                  <a:gradFill rotWithShape="1">
                    <a:gsLst>
                      <a:gs pos="0">
                        <a:srgbClr val="004D00"/>
                      </a:gs>
                      <a:gs pos="50000">
                        <a:srgbClr val="007300"/>
                      </a:gs>
                      <a:gs pos="100000">
                        <a:srgbClr val="008A00"/>
                      </a:gs>
                    </a:gsLst>
                    <a:lin ang="13500000" scaled="1"/>
                  </a:gradFill>
                  <a:ln w="12700" cap="rnd" cmpd="sng">
                    <a:solidFill>
                      <a:srgbClr val="99CC00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93" name="Freeform 89">
                    <a:extLst>
                      <a:ext uri="{FF2B5EF4-FFF2-40B4-BE49-F238E27FC236}">
                        <a16:creationId xmlns:a16="http://schemas.microsoft.com/office/drawing/2014/main" id="{193E72BC-B46B-4B42-8B8B-E486D764C80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053532" y="2857649"/>
                    <a:ext cx="673100" cy="265112"/>
                  </a:xfrm>
                  <a:custGeom>
                    <a:avLst/>
                    <a:gdLst>
                      <a:gd name="T0" fmla="*/ 512989 w 446"/>
                      <a:gd name="T1" fmla="*/ 53533 h 183"/>
                      <a:gd name="T2" fmla="*/ 473761 w 446"/>
                      <a:gd name="T3" fmla="*/ 53533 h 183"/>
                      <a:gd name="T4" fmla="*/ 375689 w 446"/>
                      <a:gd name="T5" fmla="*/ 36171 h 183"/>
                      <a:gd name="T6" fmla="*/ 295723 w 446"/>
                      <a:gd name="T7" fmla="*/ 36171 h 183"/>
                      <a:gd name="T8" fmla="*/ 256495 w 446"/>
                      <a:gd name="T9" fmla="*/ 36171 h 183"/>
                      <a:gd name="T10" fmla="*/ 217266 w 446"/>
                      <a:gd name="T11" fmla="*/ 0 h 183"/>
                      <a:gd name="T12" fmla="*/ 158423 w 446"/>
                      <a:gd name="T13" fmla="*/ 0 h 183"/>
                      <a:gd name="T14" fmla="*/ 158423 w 446"/>
                      <a:gd name="T15" fmla="*/ 17362 h 183"/>
                      <a:gd name="T16" fmla="*/ 119195 w 446"/>
                      <a:gd name="T17" fmla="*/ 17362 h 183"/>
                      <a:gd name="T18" fmla="*/ 99580 w 446"/>
                      <a:gd name="T19" fmla="*/ 36171 h 183"/>
                      <a:gd name="T20" fmla="*/ 60352 w 446"/>
                      <a:gd name="T21" fmla="*/ 70895 h 183"/>
                      <a:gd name="T22" fmla="*/ 39229 w 446"/>
                      <a:gd name="T23" fmla="*/ 105619 h 183"/>
                      <a:gd name="T24" fmla="*/ 0 w 446"/>
                      <a:gd name="T25" fmla="*/ 122981 h 183"/>
                      <a:gd name="T26" fmla="*/ 39229 w 446"/>
                      <a:gd name="T27" fmla="*/ 140343 h 183"/>
                      <a:gd name="T28" fmla="*/ 79966 w 446"/>
                      <a:gd name="T29" fmla="*/ 140343 h 183"/>
                      <a:gd name="T30" fmla="*/ 158423 w 446"/>
                      <a:gd name="T31" fmla="*/ 157705 h 183"/>
                      <a:gd name="T32" fmla="*/ 197652 w 446"/>
                      <a:gd name="T33" fmla="*/ 193875 h 183"/>
                      <a:gd name="T34" fmla="*/ 256495 w 446"/>
                      <a:gd name="T35" fmla="*/ 245961 h 183"/>
                      <a:gd name="T36" fmla="*/ 295723 w 446"/>
                      <a:gd name="T37" fmla="*/ 263323 h 183"/>
                      <a:gd name="T38" fmla="*/ 356075 w 446"/>
                      <a:gd name="T39" fmla="*/ 228599 h 183"/>
                      <a:gd name="T40" fmla="*/ 375689 w 446"/>
                      <a:gd name="T41" fmla="*/ 211237 h 183"/>
                      <a:gd name="T42" fmla="*/ 434532 w 446"/>
                      <a:gd name="T43" fmla="*/ 211237 h 183"/>
                      <a:gd name="T44" fmla="*/ 532603 w 446"/>
                      <a:gd name="T45" fmla="*/ 211237 h 183"/>
                      <a:gd name="T46" fmla="*/ 592955 w 446"/>
                      <a:gd name="T47" fmla="*/ 193875 h 183"/>
                      <a:gd name="T48" fmla="*/ 632184 w 446"/>
                      <a:gd name="T49" fmla="*/ 211237 h 183"/>
                      <a:gd name="T50" fmla="*/ 671412 w 446"/>
                      <a:gd name="T51" fmla="*/ 176513 h 183"/>
                      <a:gd name="T52" fmla="*/ 671412 w 446"/>
                      <a:gd name="T53" fmla="*/ 140343 h 183"/>
                      <a:gd name="T54" fmla="*/ 651798 w 446"/>
                      <a:gd name="T55" fmla="*/ 88257 h 183"/>
                      <a:gd name="T56" fmla="*/ 632184 w 446"/>
                      <a:gd name="T57" fmla="*/ 53533 h 183"/>
                      <a:gd name="T58" fmla="*/ 512989 w 446"/>
                      <a:gd name="T59" fmla="*/ 53533 h 183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0" t="0" r="r" b="b"/>
                    <a:pathLst>
                      <a:path w="446" h="183">
                        <a:moveTo>
                          <a:pt x="340" y="37"/>
                        </a:moveTo>
                        <a:lnTo>
                          <a:pt x="314" y="37"/>
                        </a:lnTo>
                        <a:lnTo>
                          <a:pt x="249" y="25"/>
                        </a:lnTo>
                        <a:lnTo>
                          <a:pt x="196" y="25"/>
                        </a:lnTo>
                        <a:lnTo>
                          <a:pt x="170" y="25"/>
                        </a:lnTo>
                        <a:lnTo>
                          <a:pt x="144" y="0"/>
                        </a:lnTo>
                        <a:lnTo>
                          <a:pt x="105" y="0"/>
                        </a:lnTo>
                        <a:lnTo>
                          <a:pt x="105" y="12"/>
                        </a:lnTo>
                        <a:lnTo>
                          <a:pt x="79" y="12"/>
                        </a:lnTo>
                        <a:lnTo>
                          <a:pt x="66" y="25"/>
                        </a:lnTo>
                        <a:lnTo>
                          <a:pt x="40" y="49"/>
                        </a:lnTo>
                        <a:lnTo>
                          <a:pt x="26" y="73"/>
                        </a:lnTo>
                        <a:lnTo>
                          <a:pt x="0" y="85"/>
                        </a:lnTo>
                        <a:lnTo>
                          <a:pt x="26" y="97"/>
                        </a:lnTo>
                        <a:lnTo>
                          <a:pt x="53" y="97"/>
                        </a:lnTo>
                        <a:lnTo>
                          <a:pt x="105" y="109"/>
                        </a:lnTo>
                        <a:lnTo>
                          <a:pt x="131" y="134"/>
                        </a:lnTo>
                        <a:lnTo>
                          <a:pt x="170" y="170"/>
                        </a:lnTo>
                        <a:lnTo>
                          <a:pt x="196" y="182"/>
                        </a:lnTo>
                        <a:lnTo>
                          <a:pt x="236" y="158"/>
                        </a:lnTo>
                        <a:lnTo>
                          <a:pt x="249" y="146"/>
                        </a:lnTo>
                        <a:lnTo>
                          <a:pt x="288" y="146"/>
                        </a:lnTo>
                        <a:lnTo>
                          <a:pt x="353" y="146"/>
                        </a:lnTo>
                        <a:lnTo>
                          <a:pt x="393" y="134"/>
                        </a:lnTo>
                        <a:lnTo>
                          <a:pt x="419" y="146"/>
                        </a:lnTo>
                        <a:lnTo>
                          <a:pt x="445" y="122"/>
                        </a:lnTo>
                        <a:lnTo>
                          <a:pt x="445" y="97"/>
                        </a:lnTo>
                        <a:lnTo>
                          <a:pt x="432" y="61"/>
                        </a:lnTo>
                        <a:lnTo>
                          <a:pt x="419" y="37"/>
                        </a:lnTo>
                        <a:lnTo>
                          <a:pt x="340" y="37"/>
                        </a:lnTo>
                      </a:path>
                    </a:pathLst>
                  </a:custGeom>
                  <a:solidFill>
                    <a:srgbClr val="6DA400"/>
                  </a:solidFill>
                  <a:ln w="3175" cap="rnd" cmpd="sng">
                    <a:solidFill>
                      <a:srgbClr val="4D4D4D"/>
                    </a:solidFill>
                    <a:round/>
                    <a:headEnd type="none" w="sm" len="sm"/>
                    <a:tailEnd type="stealth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94" name="Freeform 90">
                    <a:extLst>
                      <a:ext uri="{FF2B5EF4-FFF2-40B4-BE49-F238E27FC236}">
                        <a16:creationId xmlns:a16="http://schemas.microsoft.com/office/drawing/2014/main" id="{C39DB859-B50D-486D-9501-D4B3AA06197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053532" y="2857649"/>
                    <a:ext cx="673100" cy="265112"/>
                  </a:xfrm>
                  <a:custGeom>
                    <a:avLst/>
                    <a:gdLst>
                      <a:gd name="T0" fmla="*/ 512989 w 446"/>
                      <a:gd name="T1" fmla="*/ 53533 h 183"/>
                      <a:gd name="T2" fmla="*/ 473761 w 446"/>
                      <a:gd name="T3" fmla="*/ 53533 h 183"/>
                      <a:gd name="T4" fmla="*/ 375689 w 446"/>
                      <a:gd name="T5" fmla="*/ 36171 h 183"/>
                      <a:gd name="T6" fmla="*/ 295723 w 446"/>
                      <a:gd name="T7" fmla="*/ 36171 h 183"/>
                      <a:gd name="T8" fmla="*/ 256495 w 446"/>
                      <a:gd name="T9" fmla="*/ 36171 h 183"/>
                      <a:gd name="T10" fmla="*/ 217266 w 446"/>
                      <a:gd name="T11" fmla="*/ 0 h 183"/>
                      <a:gd name="T12" fmla="*/ 158423 w 446"/>
                      <a:gd name="T13" fmla="*/ 0 h 183"/>
                      <a:gd name="T14" fmla="*/ 158423 w 446"/>
                      <a:gd name="T15" fmla="*/ 17362 h 183"/>
                      <a:gd name="T16" fmla="*/ 119195 w 446"/>
                      <a:gd name="T17" fmla="*/ 17362 h 183"/>
                      <a:gd name="T18" fmla="*/ 99580 w 446"/>
                      <a:gd name="T19" fmla="*/ 36171 h 183"/>
                      <a:gd name="T20" fmla="*/ 60352 w 446"/>
                      <a:gd name="T21" fmla="*/ 70895 h 183"/>
                      <a:gd name="T22" fmla="*/ 39229 w 446"/>
                      <a:gd name="T23" fmla="*/ 105619 h 183"/>
                      <a:gd name="T24" fmla="*/ 0 w 446"/>
                      <a:gd name="T25" fmla="*/ 122981 h 183"/>
                      <a:gd name="T26" fmla="*/ 39229 w 446"/>
                      <a:gd name="T27" fmla="*/ 140343 h 183"/>
                      <a:gd name="T28" fmla="*/ 79966 w 446"/>
                      <a:gd name="T29" fmla="*/ 140343 h 183"/>
                      <a:gd name="T30" fmla="*/ 158423 w 446"/>
                      <a:gd name="T31" fmla="*/ 157705 h 183"/>
                      <a:gd name="T32" fmla="*/ 197652 w 446"/>
                      <a:gd name="T33" fmla="*/ 193875 h 183"/>
                      <a:gd name="T34" fmla="*/ 256495 w 446"/>
                      <a:gd name="T35" fmla="*/ 245961 h 183"/>
                      <a:gd name="T36" fmla="*/ 295723 w 446"/>
                      <a:gd name="T37" fmla="*/ 263323 h 183"/>
                      <a:gd name="T38" fmla="*/ 356075 w 446"/>
                      <a:gd name="T39" fmla="*/ 228599 h 183"/>
                      <a:gd name="T40" fmla="*/ 375689 w 446"/>
                      <a:gd name="T41" fmla="*/ 211237 h 183"/>
                      <a:gd name="T42" fmla="*/ 434532 w 446"/>
                      <a:gd name="T43" fmla="*/ 211237 h 183"/>
                      <a:gd name="T44" fmla="*/ 532603 w 446"/>
                      <a:gd name="T45" fmla="*/ 211237 h 183"/>
                      <a:gd name="T46" fmla="*/ 592955 w 446"/>
                      <a:gd name="T47" fmla="*/ 193875 h 183"/>
                      <a:gd name="T48" fmla="*/ 632184 w 446"/>
                      <a:gd name="T49" fmla="*/ 211237 h 183"/>
                      <a:gd name="T50" fmla="*/ 671412 w 446"/>
                      <a:gd name="T51" fmla="*/ 176513 h 183"/>
                      <a:gd name="T52" fmla="*/ 671412 w 446"/>
                      <a:gd name="T53" fmla="*/ 140343 h 183"/>
                      <a:gd name="T54" fmla="*/ 651798 w 446"/>
                      <a:gd name="T55" fmla="*/ 88257 h 183"/>
                      <a:gd name="T56" fmla="*/ 632184 w 446"/>
                      <a:gd name="T57" fmla="*/ 53533 h 183"/>
                      <a:gd name="T58" fmla="*/ 512989 w 446"/>
                      <a:gd name="T59" fmla="*/ 53533 h 183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0" t="0" r="r" b="b"/>
                    <a:pathLst>
                      <a:path w="446" h="183">
                        <a:moveTo>
                          <a:pt x="340" y="37"/>
                        </a:moveTo>
                        <a:lnTo>
                          <a:pt x="314" y="37"/>
                        </a:lnTo>
                        <a:lnTo>
                          <a:pt x="249" y="25"/>
                        </a:lnTo>
                        <a:lnTo>
                          <a:pt x="196" y="25"/>
                        </a:lnTo>
                        <a:lnTo>
                          <a:pt x="170" y="25"/>
                        </a:lnTo>
                        <a:lnTo>
                          <a:pt x="144" y="0"/>
                        </a:lnTo>
                        <a:lnTo>
                          <a:pt x="105" y="0"/>
                        </a:lnTo>
                        <a:lnTo>
                          <a:pt x="105" y="12"/>
                        </a:lnTo>
                        <a:lnTo>
                          <a:pt x="79" y="12"/>
                        </a:lnTo>
                        <a:lnTo>
                          <a:pt x="66" y="25"/>
                        </a:lnTo>
                        <a:lnTo>
                          <a:pt x="40" y="49"/>
                        </a:lnTo>
                        <a:lnTo>
                          <a:pt x="26" y="73"/>
                        </a:lnTo>
                        <a:lnTo>
                          <a:pt x="0" y="85"/>
                        </a:lnTo>
                        <a:lnTo>
                          <a:pt x="26" y="97"/>
                        </a:lnTo>
                        <a:lnTo>
                          <a:pt x="53" y="97"/>
                        </a:lnTo>
                        <a:lnTo>
                          <a:pt x="105" y="109"/>
                        </a:lnTo>
                        <a:lnTo>
                          <a:pt x="131" y="134"/>
                        </a:lnTo>
                        <a:lnTo>
                          <a:pt x="170" y="170"/>
                        </a:lnTo>
                        <a:lnTo>
                          <a:pt x="196" y="182"/>
                        </a:lnTo>
                        <a:lnTo>
                          <a:pt x="236" y="158"/>
                        </a:lnTo>
                        <a:lnTo>
                          <a:pt x="249" y="146"/>
                        </a:lnTo>
                        <a:lnTo>
                          <a:pt x="288" y="146"/>
                        </a:lnTo>
                        <a:lnTo>
                          <a:pt x="353" y="146"/>
                        </a:lnTo>
                        <a:lnTo>
                          <a:pt x="393" y="134"/>
                        </a:lnTo>
                        <a:lnTo>
                          <a:pt x="419" y="146"/>
                        </a:lnTo>
                        <a:lnTo>
                          <a:pt x="445" y="122"/>
                        </a:lnTo>
                        <a:lnTo>
                          <a:pt x="445" y="97"/>
                        </a:lnTo>
                        <a:lnTo>
                          <a:pt x="432" y="61"/>
                        </a:lnTo>
                        <a:lnTo>
                          <a:pt x="419" y="37"/>
                        </a:lnTo>
                        <a:lnTo>
                          <a:pt x="340" y="37"/>
                        </a:lnTo>
                      </a:path>
                    </a:pathLst>
                  </a:custGeom>
                  <a:gradFill rotWithShape="1">
                    <a:gsLst>
                      <a:gs pos="0">
                        <a:srgbClr val="004D00"/>
                      </a:gs>
                      <a:gs pos="50000">
                        <a:srgbClr val="007300"/>
                      </a:gs>
                      <a:gs pos="100000">
                        <a:srgbClr val="008A00"/>
                      </a:gs>
                    </a:gsLst>
                    <a:lin ang="13500000" scaled="1"/>
                  </a:gradFill>
                  <a:ln w="12700" cap="rnd" cmpd="sng">
                    <a:solidFill>
                      <a:srgbClr val="A3F55D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95" name="Freeform 91">
                    <a:extLst>
                      <a:ext uri="{FF2B5EF4-FFF2-40B4-BE49-F238E27FC236}">
                        <a16:creationId xmlns:a16="http://schemas.microsoft.com/office/drawing/2014/main" id="{905613C8-326B-4834-B154-5FD4C58D206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8482" y="3224361"/>
                    <a:ext cx="376238" cy="247650"/>
                  </a:xfrm>
                  <a:custGeom>
                    <a:avLst/>
                    <a:gdLst>
                      <a:gd name="T0" fmla="*/ 0 w 250"/>
                      <a:gd name="T1" fmla="*/ 34782 h 171"/>
                      <a:gd name="T2" fmla="*/ 0 w 250"/>
                      <a:gd name="T3" fmla="*/ 123188 h 171"/>
                      <a:gd name="T4" fmla="*/ 58663 w 250"/>
                      <a:gd name="T5" fmla="*/ 123188 h 171"/>
                      <a:gd name="T6" fmla="*/ 118830 w 250"/>
                      <a:gd name="T7" fmla="*/ 123188 h 171"/>
                      <a:gd name="T8" fmla="*/ 157938 w 250"/>
                      <a:gd name="T9" fmla="*/ 140579 h 171"/>
                      <a:gd name="T10" fmla="*/ 177493 w 250"/>
                      <a:gd name="T11" fmla="*/ 210144 h 171"/>
                      <a:gd name="T12" fmla="*/ 236156 w 250"/>
                      <a:gd name="T13" fmla="*/ 246376 h 171"/>
                      <a:gd name="T14" fmla="*/ 255710 w 250"/>
                      <a:gd name="T15" fmla="*/ 210144 h 171"/>
                      <a:gd name="T16" fmla="*/ 275264 w 250"/>
                      <a:gd name="T17" fmla="*/ 175362 h 171"/>
                      <a:gd name="T18" fmla="*/ 294818 w 250"/>
                      <a:gd name="T19" fmla="*/ 140579 h 171"/>
                      <a:gd name="T20" fmla="*/ 314373 w 250"/>
                      <a:gd name="T21" fmla="*/ 123188 h 171"/>
                      <a:gd name="T22" fmla="*/ 374540 w 250"/>
                      <a:gd name="T23" fmla="*/ 52174 h 171"/>
                      <a:gd name="T24" fmla="*/ 353481 w 250"/>
                      <a:gd name="T25" fmla="*/ 17391 h 171"/>
                      <a:gd name="T26" fmla="*/ 333927 w 250"/>
                      <a:gd name="T27" fmla="*/ 17391 h 171"/>
                      <a:gd name="T28" fmla="*/ 294818 w 250"/>
                      <a:gd name="T29" fmla="*/ 0 h 171"/>
                      <a:gd name="T30" fmla="*/ 236156 w 250"/>
                      <a:gd name="T31" fmla="*/ 0 h 171"/>
                      <a:gd name="T32" fmla="*/ 197047 w 250"/>
                      <a:gd name="T33" fmla="*/ 0 h 171"/>
                      <a:gd name="T34" fmla="*/ 138384 w 250"/>
                      <a:gd name="T35" fmla="*/ 0 h 171"/>
                      <a:gd name="T36" fmla="*/ 118830 w 250"/>
                      <a:gd name="T37" fmla="*/ 0 h 171"/>
                      <a:gd name="T38" fmla="*/ 97771 w 250"/>
                      <a:gd name="T39" fmla="*/ 17391 h 171"/>
                      <a:gd name="T40" fmla="*/ 78217 w 250"/>
                      <a:gd name="T41" fmla="*/ 17391 h 171"/>
                      <a:gd name="T42" fmla="*/ 0 w 250"/>
                      <a:gd name="T43" fmla="*/ 34782 h 171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0" t="0" r="r" b="b"/>
                    <a:pathLst>
                      <a:path w="250" h="171">
                        <a:moveTo>
                          <a:pt x="0" y="24"/>
                        </a:moveTo>
                        <a:lnTo>
                          <a:pt x="0" y="85"/>
                        </a:lnTo>
                        <a:lnTo>
                          <a:pt x="39" y="85"/>
                        </a:lnTo>
                        <a:lnTo>
                          <a:pt x="79" y="85"/>
                        </a:lnTo>
                        <a:lnTo>
                          <a:pt x="105" y="97"/>
                        </a:lnTo>
                        <a:lnTo>
                          <a:pt x="118" y="145"/>
                        </a:lnTo>
                        <a:lnTo>
                          <a:pt x="157" y="170"/>
                        </a:lnTo>
                        <a:lnTo>
                          <a:pt x="170" y="145"/>
                        </a:lnTo>
                        <a:lnTo>
                          <a:pt x="183" y="121"/>
                        </a:lnTo>
                        <a:lnTo>
                          <a:pt x="196" y="97"/>
                        </a:lnTo>
                        <a:lnTo>
                          <a:pt x="209" y="85"/>
                        </a:lnTo>
                        <a:lnTo>
                          <a:pt x="249" y="36"/>
                        </a:lnTo>
                        <a:lnTo>
                          <a:pt x="235" y="12"/>
                        </a:lnTo>
                        <a:lnTo>
                          <a:pt x="222" y="12"/>
                        </a:lnTo>
                        <a:lnTo>
                          <a:pt x="196" y="0"/>
                        </a:lnTo>
                        <a:lnTo>
                          <a:pt x="157" y="0"/>
                        </a:lnTo>
                        <a:lnTo>
                          <a:pt x="131" y="0"/>
                        </a:lnTo>
                        <a:lnTo>
                          <a:pt x="92" y="0"/>
                        </a:lnTo>
                        <a:lnTo>
                          <a:pt x="79" y="0"/>
                        </a:lnTo>
                        <a:lnTo>
                          <a:pt x="65" y="12"/>
                        </a:lnTo>
                        <a:lnTo>
                          <a:pt x="52" y="12"/>
                        </a:lnTo>
                        <a:lnTo>
                          <a:pt x="0" y="24"/>
                        </a:lnTo>
                      </a:path>
                    </a:pathLst>
                  </a:custGeom>
                  <a:solidFill>
                    <a:srgbClr val="6DA400"/>
                  </a:solidFill>
                  <a:ln w="3175" cap="rnd" cmpd="sng">
                    <a:solidFill>
                      <a:srgbClr val="4D4D4D"/>
                    </a:solidFill>
                    <a:round/>
                    <a:headEnd type="none" w="sm" len="sm"/>
                    <a:tailEnd type="stealth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96" name="Freeform 92">
                    <a:extLst>
                      <a:ext uri="{FF2B5EF4-FFF2-40B4-BE49-F238E27FC236}">
                        <a16:creationId xmlns:a16="http://schemas.microsoft.com/office/drawing/2014/main" id="{FFCB9BCC-5956-40C7-9D56-7F253EA28D2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288482" y="3224361"/>
                    <a:ext cx="376238" cy="247650"/>
                  </a:xfrm>
                  <a:custGeom>
                    <a:avLst/>
                    <a:gdLst>
                      <a:gd name="T0" fmla="*/ 0 w 250"/>
                      <a:gd name="T1" fmla="*/ 34782 h 171"/>
                      <a:gd name="T2" fmla="*/ 0 w 250"/>
                      <a:gd name="T3" fmla="*/ 123188 h 171"/>
                      <a:gd name="T4" fmla="*/ 58663 w 250"/>
                      <a:gd name="T5" fmla="*/ 123188 h 171"/>
                      <a:gd name="T6" fmla="*/ 118830 w 250"/>
                      <a:gd name="T7" fmla="*/ 123188 h 171"/>
                      <a:gd name="T8" fmla="*/ 157938 w 250"/>
                      <a:gd name="T9" fmla="*/ 140579 h 171"/>
                      <a:gd name="T10" fmla="*/ 177493 w 250"/>
                      <a:gd name="T11" fmla="*/ 210144 h 171"/>
                      <a:gd name="T12" fmla="*/ 236156 w 250"/>
                      <a:gd name="T13" fmla="*/ 246376 h 171"/>
                      <a:gd name="T14" fmla="*/ 255710 w 250"/>
                      <a:gd name="T15" fmla="*/ 210144 h 171"/>
                      <a:gd name="T16" fmla="*/ 275264 w 250"/>
                      <a:gd name="T17" fmla="*/ 175362 h 171"/>
                      <a:gd name="T18" fmla="*/ 294818 w 250"/>
                      <a:gd name="T19" fmla="*/ 140579 h 171"/>
                      <a:gd name="T20" fmla="*/ 314373 w 250"/>
                      <a:gd name="T21" fmla="*/ 123188 h 171"/>
                      <a:gd name="T22" fmla="*/ 374540 w 250"/>
                      <a:gd name="T23" fmla="*/ 52174 h 171"/>
                      <a:gd name="T24" fmla="*/ 353481 w 250"/>
                      <a:gd name="T25" fmla="*/ 17391 h 171"/>
                      <a:gd name="T26" fmla="*/ 333927 w 250"/>
                      <a:gd name="T27" fmla="*/ 17391 h 171"/>
                      <a:gd name="T28" fmla="*/ 294818 w 250"/>
                      <a:gd name="T29" fmla="*/ 0 h 171"/>
                      <a:gd name="T30" fmla="*/ 236156 w 250"/>
                      <a:gd name="T31" fmla="*/ 0 h 171"/>
                      <a:gd name="T32" fmla="*/ 197047 w 250"/>
                      <a:gd name="T33" fmla="*/ 0 h 171"/>
                      <a:gd name="T34" fmla="*/ 138384 w 250"/>
                      <a:gd name="T35" fmla="*/ 0 h 171"/>
                      <a:gd name="T36" fmla="*/ 118830 w 250"/>
                      <a:gd name="T37" fmla="*/ 0 h 171"/>
                      <a:gd name="T38" fmla="*/ 97771 w 250"/>
                      <a:gd name="T39" fmla="*/ 17391 h 171"/>
                      <a:gd name="T40" fmla="*/ 78217 w 250"/>
                      <a:gd name="T41" fmla="*/ 17391 h 171"/>
                      <a:gd name="T42" fmla="*/ 0 w 250"/>
                      <a:gd name="T43" fmla="*/ 34782 h 171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0" t="0" r="r" b="b"/>
                    <a:pathLst>
                      <a:path w="250" h="171">
                        <a:moveTo>
                          <a:pt x="0" y="24"/>
                        </a:moveTo>
                        <a:lnTo>
                          <a:pt x="0" y="85"/>
                        </a:lnTo>
                        <a:lnTo>
                          <a:pt x="39" y="85"/>
                        </a:lnTo>
                        <a:lnTo>
                          <a:pt x="79" y="85"/>
                        </a:lnTo>
                        <a:lnTo>
                          <a:pt x="105" y="97"/>
                        </a:lnTo>
                        <a:lnTo>
                          <a:pt x="118" y="145"/>
                        </a:lnTo>
                        <a:lnTo>
                          <a:pt x="157" y="170"/>
                        </a:lnTo>
                        <a:lnTo>
                          <a:pt x="170" y="145"/>
                        </a:lnTo>
                        <a:lnTo>
                          <a:pt x="183" y="121"/>
                        </a:lnTo>
                        <a:lnTo>
                          <a:pt x="196" y="97"/>
                        </a:lnTo>
                        <a:lnTo>
                          <a:pt x="209" y="85"/>
                        </a:lnTo>
                        <a:lnTo>
                          <a:pt x="249" y="36"/>
                        </a:lnTo>
                        <a:lnTo>
                          <a:pt x="235" y="12"/>
                        </a:lnTo>
                        <a:lnTo>
                          <a:pt x="222" y="12"/>
                        </a:lnTo>
                        <a:lnTo>
                          <a:pt x="196" y="0"/>
                        </a:lnTo>
                        <a:lnTo>
                          <a:pt x="157" y="0"/>
                        </a:lnTo>
                        <a:lnTo>
                          <a:pt x="131" y="0"/>
                        </a:lnTo>
                        <a:lnTo>
                          <a:pt x="92" y="0"/>
                        </a:lnTo>
                        <a:lnTo>
                          <a:pt x="79" y="0"/>
                        </a:lnTo>
                        <a:lnTo>
                          <a:pt x="65" y="12"/>
                        </a:lnTo>
                        <a:lnTo>
                          <a:pt x="52" y="12"/>
                        </a:lnTo>
                        <a:lnTo>
                          <a:pt x="0" y="24"/>
                        </a:lnTo>
                      </a:path>
                    </a:pathLst>
                  </a:custGeom>
                  <a:gradFill rotWithShape="1">
                    <a:gsLst>
                      <a:gs pos="0">
                        <a:srgbClr val="004D00"/>
                      </a:gs>
                      <a:gs pos="50000">
                        <a:srgbClr val="007300"/>
                      </a:gs>
                      <a:gs pos="100000">
                        <a:srgbClr val="008A00"/>
                      </a:gs>
                    </a:gsLst>
                    <a:lin ang="13500000" scaled="1"/>
                  </a:gradFill>
                  <a:ln w="12700" cap="rnd" cmpd="sng">
                    <a:solidFill>
                      <a:srgbClr val="A3F55D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97" name="Freeform 93">
                    <a:extLst>
                      <a:ext uri="{FF2B5EF4-FFF2-40B4-BE49-F238E27FC236}">
                        <a16:creationId xmlns:a16="http://schemas.microsoft.com/office/drawing/2014/main" id="{7147620D-131F-41C6-A59A-96EE2A116B1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190057" y="2579836"/>
                    <a:ext cx="531813" cy="366713"/>
                  </a:xfrm>
                  <a:custGeom>
                    <a:avLst/>
                    <a:gdLst>
                      <a:gd name="T0" fmla="*/ 117260 w 354"/>
                      <a:gd name="T1" fmla="*/ 0 h 255"/>
                      <a:gd name="T2" fmla="*/ 97717 w 354"/>
                      <a:gd name="T3" fmla="*/ 51733 h 255"/>
                      <a:gd name="T4" fmla="*/ 97717 w 354"/>
                      <a:gd name="T5" fmla="*/ 120710 h 255"/>
                      <a:gd name="T6" fmla="*/ 39087 w 354"/>
                      <a:gd name="T7" fmla="*/ 103466 h 255"/>
                      <a:gd name="T8" fmla="*/ 39087 w 354"/>
                      <a:gd name="T9" fmla="*/ 139392 h 255"/>
                      <a:gd name="T10" fmla="*/ 19543 w 354"/>
                      <a:gd name="T11" fmla="*/ 173880 h 255"/>
                      <a:gd name="T12" fmla="*/ 0 w 354"/>
                      <a:gd name="T13" fmla="*/ 225613 h 255"/>
                      <a:gd name="T14" fmla="*/ 39087 w 354"/>
                      <a:gd name="T15" fmla="*/ 296028 h 255"/>
                      <a:gd name="T16" fmla="*/ 97717 w 354"/>
                      <a:gd name="T17" fmla="*/ 260102 h 255"/>
                      <a:gd name="T18" fmla="*/ 117260 w 354"/>
                      <a:gd name="T19" fmla="*/ 277346 h 255"/>
                      <a:gd name="T20" fmla="*/ 136803 w 354"/>
                      <a:gd name="T21" fmla="*/ 330516 h 255"/>
                      <a:gd name="T22" fmla="*/ 195433 w 354"/>
                      <a:gd name="T23" fmla="*/ 330516 h 255"/>
                      <a:gd name="T24" fmla="*/ 216480 w 354"/>
                      <a:gd name="T25" fmla="*/ 313272 h 255"/>
                      <a:gd name="T26" fmla="*/ 294653 w 354"/>
                      <a:gd name="T27" fmla="*/ 313272 h 255"/>
                      <a:gd name="T28" fmla="*/ 353283 w 354"/>
                      <a:gd name="T29" fmla="*/ 296028 h 255"/>
                      <a:gd name="T30" fmla="*/ 372827 w 354"/>
                      <a:gd name="T31" fmla="*/ 313272 h 255"/>
                      <a:gd name="T32" fmla="*/ 451000 w 354"/>
                      <a:gd name="T33" fmla="*/ 365005 h 255"/>
                      <a:gd name="T34" fmla="*/ 472047 w 354"/>
                      <a:gd name="T35" fmla="*/ 313272 h 255"/>
                      <a:gd name="T36" fmla="*/ 530677 w 354"/>
                      <a:gd name="T37" fmla="*/ 330516 h 255"/>
                      <a:gd name="T38" fmla="*/ 511133 w 354"/>
                      <a:gd name="T39" fmla="*/ 277346 h 255"/>
                      <a:gd name="T40" fmla="*/ 491590 w 354"/>
                      <a:gd name="T41" fmla="*/ 225613 h 255"/>
                      <a:gd name="T42" fmla="*/ 472047 w 354"/>
                      <a:gd name="T43" fmla="*/ 173880 h 255"/>
                      <a:gd name="T44" fmla="*/ 472047 w 354"/>
                      <a:gd name="T45" fmla="*/ 103466 h 255"/>
                      <a:gd name="T46" fmla="*/ 472047 w 354"/>
                      <a:gd name="T47" fmla="*/ 68977 h 255"/>
                      <a:gd name="T48" fmla="*/ 431457 w 354"/>
                      <a:gd name="T49" fmla="*/ 17244 h 255"/>
                      <a:gd name="T50" fmla="*/ 372827 w 354"/>
                      <a:gd name="T51" fmla="*/ 51733 h 255"/>
                      <a:gd name="T52" fmla="*/ 333740 w 354"/>
                      <a:gd name="T53" fmla="*/ 51733 h 255"/>
                      <a:gd name="T54" fmla="*/ 255567 w 354"/>
                      <a:gd name="T55" fmla="*/ 17244 h 255"/>
                      <a:gd name="T56" fmla="*/ 216480 w 354"/>
                      <a:gd name="T57" fmla="*/ 0 h 255"/>
                      <a:gd name="T58" fmla="*/ 117260 w 354"/>
                      <a:gd name="T59" fmla="*/ 0 h 255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0" t="0" r="r" b="b"/>
                    <a:pathLst>
                      <a:path w="354" h="255">
                        <a:moveTo>
                          <a:pt x="78" y="0"/>
                        </a:moveTo>
                        <a:lnTo>
                          <a:pt x="65" y="36"/>
                        </a:lnTo>
                        <a:lnTo>
                          <a:pt x="65" y="84"/>
                        </a:lnTo>
                        <a:lnTo>
                          <a:pt x="26" y="72"/>
                        </a:lnTo>
                        <a:lnTo>
                          <a:pt x="26" y="97"/>
                        </a:lnTo>
                        <a:lnTo>
                          <a:pt x="13" y="121"/>
                        </a:lnTo>
                        <a:lnTo>
                          <a:pt x="0" y="157"/>
                        </a:lnTo>
                        <a:lnTo>
                          <a:pt x="26" y="206"/>
                        </a:lnTo>
                        <a:lnTo>
                          <a:pt x="65" y="181"/>
                        </a:lnTo>
                        <a:lnTo>
                          <a:pt x="78" y="193"/>
                        </a:lnTo>
                        <a:lnTo>
                          <a:pt x="91" y="230"/>
                        </a:lnTo>
                        <a:lnTo>
                          <a:pt x="130" y="230"/>
                        </a:lnTo>
                        <a:lnTo>
                          <a:pt x="144" y="218"/>
                        </a:lnTo>
                        <a:lnTo>
                          <a:pt x="196" y="218"/>
                        </a:lnTo>
                        <a:lnTo>
                          <a:pt x="235" y="206"/>
                        </a:lnTo>
                        <a:lnTo>
                          <a:pt x="248" y="218"/>
                        </a:lnTo>
                        <a:lnTo>
                          <a:pt x="300" y="254"/>
                        </a:lnTo>
                        <a:lnTo>
                          <a:pt x="314" y="218"/>
                        </a:lnTo>
                        <a:lnTo>
                          <a:pt x="353" y="230"/>
                        </a:lnTo>
                        <a:lnTo>
                          <a:pt x="340" y="193"/>
                        </a:lnTo>
                        <a:lnTo>
                          <a:pt x="327" y="157"/>
                        </a:lnTo>
                        <a:lnTo>
                          <a:pt x="314" y="121"/>
                        </a:lnTo>
                        <a:lnTo>
                          <a:pt x="314" y="72"/>
                        </a:lnTo>
                        <a:lnTo>
                          <a:pt x="314" y="48"/>
                        </a:lnTo>
                        <a:lnTo>
                          <a:pt x="287" y="12"/>
                        </a:lnTo>
                        <a:lnTo>
                          <a:pt x="248" y="36"/>
                        </a:lnTo>
                        <a:lnTo>
                          <a:pt x="222" y="36"/>
                        </a:lnTo>
                        <a:lnTo>
                          <a:pt x="170" y="12"/>
                        </a:lnTo>
                        <a:lnTo>
                          <a:pt x="144" y="0"/>
                        </a:lnTo>
                        <a:lnTo>
                          <a:pt x="78" y="0"/>
                        </a:lnTo>
                      </a:path>
                    </a:pathLst>
                  </a:custGeom>
                  <a:solidFill>
                    <a:srgbClr val="6DA400"/>
                  </a:solidFill>
                  <a:ln w="3175" cap="rnd" cmpd="sng">
                    <a:solidFill>
                      <a:srgbClr val="4D4D4D"/>
                    </a:solidFill>
                    <a:round/>
                    <a:headEnd type="none" w="sm" len="sm"/>
                    <a:tailEnd type="stealth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98" name="Freeform 94">
                    <a:extLst>
                      <a:ext uri="{FF2B5EF4-FFF2-40B4-BE49-F238E27FC236}">
                        <a16:creationId xmlns:a16="http://schemas.microsoft.com/office/drawing/2014/main" id="{8D243527-E771-49C1-AFE1-DEC2FD6FAB4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190057" y="2579836"/>
                    <a:ext cx="531813" cy="366713"/>
                  </a:xfrm>
                  <a:custGeom>
                    <a:avLst/>
                    <a:gdLst>
                      <a:gd name="T0" fmla="*/ 117260 w 354"/>
                      <a:gd name="T1" fmla="*/ 0 h 255"/>
                      <a:gd name="T2" fmla="*/ 97717 w 354"/>
                      <a:gd name="T3" fmla="*/ 51733 h 255"/>
                      <a:gd name="T4" fmla="*/ 97717 w 354"/>
                      <a:gd name="T5" fmla="*/ 120710 h 255"/>
                      <a:gd name="T6" fmla="*/ 39087 w 354"/>
                      <a:gd name="T7" fmla="*/ 103466 h 255"/>
                      <a:gd name="T8" fmla="*/ 39087 w 354"/>
                      <a:gd name="T9" fmla="*/ 139392 h 255"/>
                      <a:gd name="T10" fmla="*/ 19543 w 354"/>
                      <a:gd name="T11" fmla="*/ 173880 h 255"/>
                      <a:gd name="T12" fmla="*/ 0 w 354"/>
                      <a:gd name="T13" fmla="*/ 225613 h 255"/>
                      <a:gd name="T14" fmla="*/ 39087 w 354"/>
                      <a:gd name="T15" fmla="*/ 296028 h 255"/>
                      <a:gd name="T16" fmla="*/ 97717 w 354"/>
                      <a:gd name="T17" fmla="*/ 260102 h 255"/>
                      <a:gd name="T18" fmla="*/ 117260 w 354"/>
                      <a:gd name="T19" fmla="*/ 277346 h 255"/>
                      <a:gd name="T20" fmla="*/ 136803 w 354"/>
                      <a:gd name="T21" fmla="*/ 330516 h 255"/>
                      <a:gd name="T22" fmla="*/ 195433 w 354"/>
                      <a:gd name="T23" fmla="*/ 330516 h 255"/>
                      <a:gd name="T24" fmla="*/ 216480 w 354"/>
                      <a:gd name="T25" fmla="*/ 313272 h 255"/>
                      <a:gd name="T26" fmla="*/ 294653 w 354"/>
                      <a:gd name="T27" fmla="*/ 313272 h 255"/>
                      <a:gd name="T28" fmla="*/ 353283 w 354"/>
                      <a:gd name="T29" fmla="*/ 296028 h 255"/>
                      <a:gd name="T30" fmla="*/ 372827 w 354"/>
                      <a:gd name="T31" fmla="*/ 313272 h 255"/>
                      <a:gd name="T32" fmla="*/ 451000 w 354"/>
                      <a:gd name="T33" fmla="*/ 365005 h 255"/>
                      <a:gd name="T34" fmla="*/ 472047 w 354"/>
                      <a:gd name="T35" fmla="*/ 313272 h 255"/>
                      <a:gd name="T36" fmla="*/ 530677 w 354"/>
                      <a:gd name="T37" fmla="*/ 330516 h 255"/>
                      <a:gd name="T38" fmla="*/ 511133 w 354"/>
                      <a:gd name="T39" fmla="*/ 277346 h 255"/>
                      <a:gd name="T40" fmla="*/ 491590 w 354"/>
                      <a:gd name="T41" fmla="*/ 225613 h 255"/>
                      <a:gd name="T42" fmla="*/ 472047 w 354"/>
                      <a:gd name="T43" fmla="*/ 173880 h 255"/>
                      <a:gd name="T44" fmla="*/ 472047 w 354"/>
                      <a:gd name="T45" fmla="*/ 103466 h 255"/>
                      <a:gd name="T46" fmla="*/ 472047 w 354"/>
                      <a:gd name="T47" fmla="*/ 68977 h 255"/>
                      <a:gd name="T48" fmla="*/ 431457 w 354"/>
                      <a:gd name="T49" fmla="*/ 17244 h 255"/>
                      <a:gd name="T50" fmla="*/ 372827 w 354"/>
                      <a:gd name="T51" fmla="*/ 51733 h 255"/>
                      <a:gd name="T52" fmla="*/ 333740 w 354"/>
                      <a:gd name="T53" fmla="*/ 51733 h 255"/>
                      <a:gd name="T54" fmla="*/ 255567 w 354"/>
                      <a:gd name="T55" fmla="*/ 17244 h 255"/>
                      <a:gd name="T56" fmla="*/ 216480 w 354"/>
                      <a:gd name="T57" fmla="*/ 0 h 255"/>
                      <a:gd name="T58" fmla="*/ 117260 w 354"/>
                      <a:gd name="T59" fmla="*/ 0 h 255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0" t="0" r="r" b="b"/>
                    <a:pathLst>
                      <a:path w="354" h="255">
                        <a:moveTo>
                          <a:pt x="78" y="0"/>
                        </a:moveTo>
                        <a:lnTo>
                          <a:pt x="65" y="36"/>
                        </a:lnTo>
                        <a:lnTo>
                          <a:pt x="65" y="84"/>
                        </a:lnTo>
                        <a:lnTo>
                          <a:pt x="26" y="72"/>
                        </a:lnTo>
                        <a:lnTo>
                          <a:pt x="26" y="97"/>
                        </a:lnTo>
                        <a:lnTo>
                          <a:pt x="13" y="121"/>
                        </a:lnTo>
                        <a:lnTo>
                          <a:pt x="0" y="157"/>
                        </a:lnTo>
                        <a:lnTo>
                          <a:pt x="26" y="206"/>
                        </a:lnTo>
                        <a:lnTo>
                          <a:pt x="65" y="181"/>
                        </a:lnTo>
                        <a:lnTo>
                          <a:pt x="78" y="193"/>
                        </a:lnTo>
                        <a:lnTo>
                          <a:pt x="91" y="230"/>
                        </a:lnTo>
                        <a:lnTo>
                          <a:pt x="130" y="230"/>
                        </a:lnTo>
                        <a:lnTo>
                          <a:pt x="144" y="218"/>
                        </a:lnTo>
                        <a:lnTo>
                          <a:pt x="196" y="218"/>
                        </a:lnTo>
                        <a:lnTo>
                          <a:pt x="235" y="206"/>
                        </a:lnTo>
                        <a:lnTo>
                          <a:pt x="248" y="218"/>
                        </a:lnTo>
                        <a:lnTo>
                          <a:pt x="300" y="254"/>
                        </a:lnTo>
                        <a:lnTo>
                          <a:pt x="314" y="218"/>
                        </a:lnTo>
                        <a:lnTo>
                          <a:pt x="353" y="230"/>
                        </a:lnTo>
                        <a:lnTo>
                          <a:pt x="340" y="193"/>
                        </a:lnTo>
                        <a:lnTo>
                          <a:pt x="327" y="157"/>
                        </a:lnTo>
                        <a:lnTo>
                          <a:pt x="314" y="121"/>
                        </a:lnTo>
                        <a:lnTo>
                          <a:pt x="314" y="72"/>
                        </a:lnTo>
                        <a:lnTo>
                          <a:pt x="314" y="48"/>
                        </a:lnTo>
                        <a:lnTo>
                          <a:pt x="287" y="12"/>
                        </a:lnTo>
                        <a:lnTo>
                          <a:pt x="248" y="36"/>
                        </a:lnTo>
                        <a:lnTo>
                          <a:pt x="222" y="36"/>
                        </a:lnTo>
                        <a:lnTo>
                          <a:pt x="170" y="12"/>
                        </a:lnTo>
                        <a:lnTo>
                          <a:pt x="144" y="0"/>
                        </a:lnTo>
                        <a:lnTo>
                          <a:pt x="78" y="0"/>
                        </a:lnTo>
                      </a:path>
                    </a:pathLst>
                  </a:custGeom>
                  <a:gradFill rotWithShape="1">
                    <a:gsLst>
                      <a:gs pos="0">
                        <a:srgbClr val="004D00"/>
                      </a:gs>
                      <a:gs pos="50000">
                        <a:srgbClr val="007300"/>
                      </a:gs>
                      <a:gs pos="100000">
                        <a:srgbClr val="008A00"/>
                      </a:gs>
                    </a:gsLst>
                    <a:lin ang="13500000" scaled="1"/>
                  </a:gradFill>
                  <a:ln w="12700" cap="rnd" cmpd="sng">
                    <a:solidFill>
                      <a:srgbClr val="A3F55D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99" name="Freeform 95">
                    <a:extLst>
                      <a:ext uri="{FF2B5EF4-FFF2-40B4-BE49-F238E27FC236}">
                        <a16:creationId xmlns:a16="http://schemas.microsoft.com/office/drawing/2014/main" id="{724FD4E7-BD46-4C14-B838-344BF80D23C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43907" y="3049736"/>
                    <a:ext cx="1204913" cy="1362075"/>
                  </a:xfrm>
                  <a:custGeom>
                    <a:avLst/>
                    <a:gdLst>
                      <a:gd name="T0" fmla="*/ 1123655 w 799"/>
                      <a:gd name="T1" fmla="*/ 470790 h 946"/>
                      <a:gd name="T2" fmla="*/ 1006010 w 799"/>
                      <a:gd name="T3" fmla="*/ 401683 h 946"/>
                      <a:gd name="T4" fmla="*/ 1006010 w 799"/>
                      <a:gd name="T5" fmla="*/ 348413 h 946"/>
                      <a:gd name="T6" fmla="*/ 1084440 w 799"/>
                      <a:gd name="T7" fmla="*/ 262030 h 946"/>
                      <a:gd name="T8" fmla="*/ 1006010 w 799"/>
                      <a:gd name="T9" fmla="*/ 156930 h 946"/>
                      <a:gd name="T10" fmla="*/ 947188 w 799"/>
                      <a:gd name="T11" fmla="*/ 86383 h 946"/>
                      <a:gd name="T12" fmla="*/ 867250 w 799"/>
                      <a:gd name="T13" fmla="*/ 122377 h 946"/>
                      <a:gd name="T14" fmla="*/ 808428 w 799"/>
                      <a:gd name="T15" fmla="*/ 156930 h 946"/>
                      <a:gd name="T16" fmla="*/ 729999 w 799"/>
                      <a:gd name="T17" fmla="*/ 191483 h 946"/>
                      <a:gd name="T18" fmla="*/ 690784 w 799"/>
                      <a:gd name="T19" fmla="*/ 139653 h 946"/>
                      <a:gd name="T20" fmla="*/ 630453 w 799"/>
                      <a:gd name="T21" fmla="*/ 0 h 946"/>
                      <a:gd name="T22" fmla="*/ 434379 w 799"/>
                      <a:gd name="T23" fmla="*/ 86383 h 946"/>
                      <a:gd name="T24" fmla="*/ 374049 w 799"/>
                      <a:gd name="T25" fmla="*/ 174207 h 946"/>
                      <a:gd name="T26" fmla="*/ 334834 w 799"/>
                      <a:gd name="T27" fmla="*/ 226037 h 946"/>
                      <a:gd name="T28" fmla="*/ 295619 w 799"/>
                      <a:gd name="T29" fmla="*/ 262030 h 946"/>
                      <a:gd name="T30" fmla="*/ 217190 w 799"/>
                      <a:gd name="T31" fmla="*/ 313860 h 946"/>
                      <a:gd name="T32" fmla="*/ 138760 w 799"/>
                      <a:gd name="T33" fmla="*/ 331137 h 946"/>
                      <a:gd name="T34" fmla="*/ 98037 w 799"/>
                      <a:gd name="T35" fmla="*/ 348413 h 946"/>
                      <a:gd name="T36" fmla="*/ 58822 w 799"/>
                      <a:gd name="T37" fmla="*/ 436236 h 946"/>
                      <a:gd name="T38" fmla="*/ 39215 w 799"/>
                      <a:gd name="T39" fmla="*/ 522620 h 946"/>
                      <a:gd name="T40" fmla="*/ 19607 w 799"/>
                      <a:gd name="T41" fmla="*/ 610443 h 946"/>
                      <a:gd name="T42" fmla="*/ 39215 w 799"/>
                      <a:gd name="T43" fmla="*/ 680990 h 946"/>
                      <a:gd name="T44" fmla="*/ 19607 w 799"/>
                      <a:gd name="T45" fmla="*/ 750096 h 946"/>
                      <a:gd name="T46" fmla="*/ 39215 w 799"/>
                      <a:gd name="T47" fmla="*/ 837919 h 946"/>
                      <a:gd name="T48" fmla="*/ 39215 w 799"/>
                      <a:gd name="T49" fmla="*/ 907026 h 946"/>
                      <a:gd name="T50" fmla="*/ 98037 w 799"/>
                      <a:gd name="T51" fmla="*/ 924303 h 946"/>
                      <a:gd name="T52" fmla="*/ 217190 w 799"/>
                      <a:gd name="T53" fmla="*/ 872473 h 946"/>
                      <a:gd name="T54" fmla="*/ 295619 w 799"/>
                      <a:gd name="T55" fmla="*/ 855196 h 946"/>
                      <a:gd name="T56" fmla="*/ 395165 w 799"/>
                      <a:gd name="T57" fmla="*/ 907026 h 946"/>
                      <a:gd name="T58" fmla="*/ 512809 w 799"/>
                      <a:gd name="T59" fmla="*/ 958856 h 946"/>
                      <a:gd name="T60" fmla="*/ 749606 w 799"/>
                      <a:gd name="T61" fmla="*/ 1029403 h 946"/>
                      <a:gd name="T62" fmla="*/ 808428 w 799"/>
                      <a:gd name="T63" fmla="*/ 1063956 h 946"/>
                      <a:gd name="T64" fmla="*/ 788821 w 799"/>
                      <a:gd name="T65" fmla="*/ 1151779 h 946"/>
                      <a:gd name="T66" fmla="*/ 729999 w 799"/>
                      <a:gd name="T67" fmla="*/ 1220886 h 946"/>
                      <a:gd name="T68" fmla="*/ 749606 w 799"/>
                      <a:gd name="T69" fmla="*/ 1256879 h 946"/>
                      <a:gd name="T70" fmla="*/ 808428 w 799"/>
                      <a:gd name="T71" fmla="*/ 1291433 h 946"/>
                      <a:gd name="T72" fmla="*/ 927581 w 799"/>
                      <a:gd name="T73" fmla="*/ 1343263 h 946"/>
                      <a:gd name="T74" fmla="*/ 966796 w 799"/>
                      <a:gd name="T75" fmla="*/ 1291433 h 946"/>
                      <a:gd name="T76" fmla="*/ 947188 w 799"/>
                      <a:gd name="T77" fmla="*/ 1081233 h 946"/>
                      <a:gd name="T78" fmla="*/ 966796 w 799"/>
                      <a:gd name="T79" fmla="*/ 994849 h 946"/>
                      <a:gd name="T80" fmla="*/ 986403 w 799"/>
                      <a:gd name="T81" fmla="*/ 819203 h 946"/>
                      <a:gd name="T82" fmla="*/ 986403 w 799"/>
                      <a:gd name="T83" fmla="*/ 698266 h 946"/>
                      <a:gd name="T84" fmla="*/ 1143262 w 799"/>
                      <a:gd name="T85" fmla="*/ 698266 h 946"/>
                      <a:gd name="T86" fmla="*/ 1164378 w 799"/>
                      <a:gd name="T87" fmla="*/ 593166 h 94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</a:gdLst>
                    <a:ahLst/>
                    <a:cxnLst>
                      <a:cxn ang="T88">
                        <a:pos x="T0" y="T1"/>
                      </a:cxn>
                      <a:cxn ang="T89">
                        <a:pos x="T2" y="T3"/>
                      </a:cxn>
                      <a:cxn ang="T90">
                        <a:pos x="T4" y="T5"/>
                      </a:cxn>
                      <a:cxn ang="T91">
                        <a:pos x="T6" y="T7"/>
                      </a:cxn>
                      <a:cxn ang="T92">
                        <a:pos x="T8" y="T9"/>
                      </a:cxn>
                      <a:cxn ang="T93">
                        <a:pos x="T10" y="T11"/>
                      </a:cxn>
                      <a:cxn ang="T94">
                        <a:pos x="T12" y="T13"/>
                      </a:cxn>
                      <a:cxn ang="T95">
                        <a:pos x="T14" y="T15"/>
                      </a:cxn>
                      <a:cxn ang="T96">
                        <a:pos x="T16" y="T17"/>
                      </a:cxn>
                      <a:cxn ang="T97">
                        <a:pos x="T18" y="T19"/>
                      </a:cxn>
                      <a:cxn ang="T98">
                        <a:pos x="T20" y="T21"/>
                      </a:cxn>
                      <a:cxn ang="T99">
                        <a:pos x="T22" y="T23"/>
                      </a:cxn>
                      <a:cxn ang="T100">
                        <a:pos x="T24" y="T25"/>
                      </a:cxn>
                      <a:cxn ang="T101">
                        <a:pos x="T26" y="T27"/>
                      </a:cxn>
                      <a:cxn ang="T102">
                        <a:pos x="T28" y="T29"/>
                      </a:cxn>
                      <a:cxn ang="T103">
                        <a:pos x="T30" y="T31"/>
                      </a:cxn>
                      <a:cxn ang="T104">
                        <a:pos x="T32" y="T33"/>
                      </a:cxn>
                      <a:cxn ang="T105">
                        <a:pos x="T34" y="T35"/>
                      </a:cxn>
                      <a:cxn ang="T106">
                        <a:pos x="T36" y="T37"/>
                      </a:cxn>
                      <a:cxn ang="T107">
                        <a:pos x="T38" y="T39"/>
                      </a:cxn>
                      <a:cxn ang="T108">
                        <a:pos x="T40" y="T41"/>
                      </a:cxn>
                      <a:cxn ang="T109">
                        <a:pos x="T42" y="T43"/>
                      </a:cxn>
                      <a:cxn ang="T110">
                        <a:pos x="T44" y="T45"/>
                      </a:cxn>
                      <a:cxn ang="T111">
                        <a:pos x="T46" y="T47"/>
                      </a:cxn>
                      <a:cxn ang="T112">
                        <a:pos x="T48" y="T49"/>
                      </a:cxn>
                      <a:cxn ang="T113">
                        <a:pos x="T50" y="T51"/>
                      </a:cxn>
                      <a:cxn ang="T114">
                        <a:pos x="T52" y="T53"/>
                      </a:cxn>
                      <a:cxn ang="T115">
                        <a:pos x="T54" y="T55"/>
                      </a:cxn>
                      <a:cxn ang="T116">
                        <a:pos x="T56" y="T57"/>
                      </a:cxn>
                      <a:cxn ang="T117">
                        <a:pos x="T58" y="T59"/>
                      </a:cxn>
                      <a:cxn ang="T118">
                        <a:pos x="T60" y="T61"/>
                      </a:cxn>
                      <a:cxn ang="T119">
                        <a:pos x="T62" y="T63"/>
                      </a:cxn>
                      <a:cxn ang="T120">
                        <a:pos x="T64" y="T65"/>
                      </a:cxn>
                      <a:cxn ang="T121">
                        <a:pos x="T66" y="T67"/>
                      </a:cxn>
                      <a:cxn ang="T122">
                        <a:pos x="T68" y="T69"/>
                      </a:cxn>
                      <a:cxn ang="T123">
                        <a:pos x="T70" y="T71"/>
                      </a:cxn>
                      <a:cxn ang="T124">
                        <a:pos x="T72" y="T73"/>
                      </a:cxn>
                      <a:cxn ang="T125">
                        <a:pos x="T74" y="T75"/>
                      </a:cxn>
                      <a:cxn ang="T126">
                        <a:pos x="T76" y="T77"/>
                      </a:cxn>
                      <a:cxn ang="T127">
                        <a:pos x="T78" y="T79"/>
                      </a:cxn>
                      <a:cxn ang="T128">
                        <a:pos x="T80" y="T81"/>
                      </a:cxn>
                      <a:cxn ang="T129">
                        <a:pos x="T82" y="T83"/>
                      </a:cxn>
                      <a:cxn ang="T130">
                        <a:pos x="T84" y="T85"/>
                      </a:cxn>
                      <a:cxn ang="T131">
                        <a:pos x="T86" y="T87"/>
                      </a:cxn>
                    </a:cxnLst>
                    <a:rect l="0" t="0" r="r" b="b"/>
                    <a:pathLst>
                      <a:path w="799" h="946">
                        <a:moveTo>
                          <a:pt x="798" y="363"/>
                        </a:moveTo>
                        <a:lnTo>
                          <a:pt x="745" y="327"/>
                        </a:lnTo>
                        <a:lnTo>
                          <a:pt x="693" y="315"/>
                        </a:lnTo>
                        <a:lnTo>
                          <a:pt x="667" y="279"/>
                        </a:lnTo>
                        <a:lnTo>
                          <a:pt x="654" y="254"/>
                        </a:lnTo>
                        <a:lnTo>
                          <a:pt x="667" y="242"/>
                        </a:lnTo>
                        <a:lnTo>
                          <a:pt x="706" y="218"/>
                        </a:lnTo>
                        <a:lnTo>
                          <a:pt x="719" y="182"/>
                        </a:lnTo>
                        <a:lnTo>
                          <a:pt x="706" y="133"/>
                        </a:lnTo>
                        <a:lnTo>
                          <a:pt x="667" y="109"/>
                        </a:lnTo>
                        <a:lnTo>
                          <a:pt x="654" y="85"/>
                        </a:lnTo>
                        <a:lnTo>
                          <a:pt x="628" y="60"/>
                        </a:lnTo>
                        <a:lnTo>
                          <a:pt x="602" y="73"/>
                        </a:lnTo>
                        <a:lnTo>
                          <a:pt x="575" y="85"/>
                        </a:lnTo>
                        <a:lnTo>
                          <a:pt x="549" y="97"/>
                        </a:lnTo>
                        <a:lnTo>
                          <a:pt x="536" y="109"/>
                        </a:lnTo>
                        <a:lnTo>
                          <a:pt x="510" y="133"/>
                        </a:lnTo>
                        <a:lnTo>
                          <a:pt x="484" y="133"/>
                        </a:lnTo>
                        <a:lnTo>
                          <a:pt x="458" y="121"/>
                        </a:lnTo>
                        <a:lnTo>
                          <a:pt x="458" y="97"/>
                        </a:lnTo>
                        <a:lnTo>
                          <a:pt x="432" y="36"/>
                        </a:lnTo>
                        <a:lnTo>
                          <a:pt x="418" y="0"/>
                        </a:lnTo>
                        <a:lnTo>
                          <a:pt x="340" y="36"/>
                        </a:lnTo>
                        <a:lnTo>
                          <a:pt x="288" y="60"/>
                        </a:lnTo>
                        <a:lnTo>
                          <a:pt x="248" y="97"/>
                        </a:lnTo>
                        <a:lnTo>
                          <a:pt x="248" y="121"/>
                        </a:lnTo>
                        <a:lnTo>
                          <a:pt x="235" y="133"/>
                        </a:lnTo>
                        <a:lnTo>
                          <a:pt x="222" y="157"/>
                        </a:lnTo>
                        <a:lnTo>
                          <a:pt x="209" y="170"/>
                        </a:lnTo>
                        <a:lnTo>
                          <a:pt x="196" y="182"/>
                        </a:lnTo>
                        <a:lnTo>
                          <a:pt x="183" y="194"/>
                        </a:lnTo>
                        <a:lnTo>
                          <a:pt x="144" y="218"/>
                        </a:lnTo>
                        <a:lnTo>
                          <a:pt x="105" y="230"/>
                        </a:lnTo>
                        <a:lnTo>
                          <a:pt x="92" y="230"/>
                        </a:lnTo>
                        <a:lnTo>
                          <a:pt x="79" y="242"/>
                        </a:lnTo>
                        <a:lnTo>
                          <a:pt x="65" y="242"/>
                        </a:lnTo>
                        <a:lnTo>
                          <a:pt x="52" y="266"/>
                        </a:lnTo>
                        <a:lnTo>
                          <a:pt x="39" y="303"/>
                        </a:lnTo>
                        <a:lnTo>
                          <a:pt x="26" y="327"/>
                        </a:lnTo>
                        <a:lnTo>
                          <a:pt x="26" y="363"/>
                        </a:lnTo>
                        <a:lnTo>
                          <a:pt x="26" y="400"/>
                        </a:lnTo>
                        <a:lnTo>
                          <a:pt x="13" y="424"/>
                        </a:lnTo>
                        <a:lnTo>
                          <a:pt x="13" y="448"/>
                        </a:lnTo>
                        <a:lnTo>
                          <a:pt x="26" y="473"/>
                        </a:lnTo>
                        <a:lnTo>
                          <a:pt x="0" y="497"/>
                        </a:lnTo>
                        <a:lnTo>
                          <a:pt x="13" y="521"/>
                        </a:lnTo>
                        <a:lnTo>
                          <a:pt x="13" y="545"/>
                        </a:lnTo>
                        <a:lnTo>
                          <a:pt x="26" y="582"/>
                        </a:lnTo>
                        <a:lnTo>
                          <a:pt x="26" y="606"/>
                        </a:lnTo>
                        <a:lnTo>
                          <a:pt x="26" y="630"/>
                        </a:lnTo>
                        <a:lnTo>
                          <a:pt x="39" y="654"/>
                        </a:lnTo>
                        <a:lnTo>
                          <a:pt x="65" y="642"/>
                        </a:lnTo>
                        <a:lnTo>
                          <a:pt x="105" y="642"/>
                        </a:lnTo>
                        <a:lnTo>
                          <a:pt x="144" y="606"/>
                        </a:lnTo>
                        <a:lnTo>
                          <a:pt x="157" y="594"/>
                        </a:lnTo>
                        <a:lnTo>
                          <a:pt x="196" y="594"/>
                        </a:lnTo>
                        <a:lnTo>
                          <a:pt x="248" y="606"/>
                        </a:lnTo>
                        <a:lnTo>
                          <a:pt x="262" y="630"/>
                        </a:lnTo>
                        <a:lnTo>
                          <a:pt x="288" y="642"/>
                        </a:lnTo>
                        <a:lnTo>
                          <a:pt x="340" y="666"/>
                        </a:lnTo>
                        <a:lnTo>
                          <a:pt x="405" y="715"/>
                        </a:lnTo>
                        <a:lnTo>
                          <a:pt x="497" y="715"/>
                        </a:lnTo>
                        <a:lnTo>
                          <a:pt x="510" y="739"/>
                        </a:lnTo>
                        <a:lnTo>
                          <a:pt x="536" y="739"/>
                        </a:lnTo>
                        <a:lnTo>
                          <a:pt x="536" y="763"/>
                        </a:lnTo>
                        <a:lnTo>
                          <a:pt x="523" y="800"/>
                        </a:lnTo>
                        <a:lnTo>
                          <a:pt x="510" y="824"/>
                        </a:lnTo>
                        <a:lnTo>
                          <a:pt x="484" y="848"/>
                        </a:lnTo>
                        <a:lnTo>
                          <a:pt x="497" y="860"/>
                        </a:lnTo>
                        <a:lnTo>
                          <a:pt x="497" y="873"/>
                        </a:lnTo>
                        <a:lnTo>
                          <a:pt x="510" y="885"/>
                        </a:lnTo>
                        <a:lnTo>
                          <a:pt x="536" y="897"/>
                        </a:lnTo>
                        <a:lnTo>
                          <a:pt x="575" y="921"/>
                        </a:lnTo>
                        <a:lnTo>
                          <a:pt x="615" y="933"/>
                        </a:lnTo>
                        <a:lnTo>
                          <a:pt x="641" y="945"/>
                        </a:lnTo>
                        <a:lnTo>
                          <a:pt x="641" y="897"/>
                        </a:lnTo>
                        <a:lnTo>
                          <a:pt x="641" y="836"/>
                        </a:lnTo>
                        <a:lnTo>
                          <a:pt x="628" y="751"/>
                        </a:lnTo>
                        <a:lnTo>
                          <a:pt x="641" y="715"/>
                        </a:lnTo>
                        <a:lnTo>
                          <a:pt x="641" y="691"/>
                        </a:lnTo>
                        <a:lnTo>
                          <a:pt x="654" y="618"/>
                        </a:lnTo>
                        <a:lnTo>
                          <a:pt x="654" y="569"/>
                        </a:lnTo>
                        <a:lnTo>
                          <a:pt x="667" y="521"/>
                        </a:lnTo>
                        <a:lnTo>
                          <a:pt x="654" y="485"/>
                        </a:lnTo>
                        <a:lnTo>
                          <a:pt x="693" y="485"/>
                        </a:lnTo>
                        <a:lnTo>
                          <a:pt x="758" y="485"/>
                        </a:lnTo>
                        <a:lnTo>
                          <a:pt x="772" y="448"/>
                        </a:lnTo>
                        <a:lnTo>
                          <a:pt x="772" y="412"/>
                        </a:lnTo>
                        <a:lnTo>
                          <a:pt x="798" y="363"/>
                        </a:lnTo>
                      </a:path>
                    </a:pathLst>
                  </a:custGeom>
                  <a:solidFill>
                    <a:srgbClr val="6DA400"/>
                  </a:solidFill>
                  <a:ln w="3175" cap="rnd" cmpd="sng">
                    <a:solidFill>
                      <a:srgbClr val="4D4D4D"/>
                    </a:solidFill>
                    <a:round/>
                    <a:headEnd type="none" w="sm" len="sm"/>
                    <a:tailEnd type="stealth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00" name="Freeform 96">
                    <a:extLst>
                      <a:ext uri="{FF2B5EF4-FFF2-40B4-BE49-F238E27FC236}">
                        <a16:creationId xmlns:a16="http://schemas.microsoft.com/office/drawing/2014/main" id="{888DBB99-EA97-47A5-8B55-617A4C7CB46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43907" y="3049736"/>
                    <a:ext cx="1204913" cy="1362075"/>
                  </a:xfrm>
                  <a:custGeom>
                    <a:avLst/>
                    <a:gdLst>
                      <a:gd name="T0" fmla="*/ 1123655 w 799"/>
                      <a:gd name="T1" fmla="*/ 470790 h 946"/>
                      <a:gd name="T2" fmla="*/ 1006010 w 799"/>
                      <a:gd name="T3" fmla="*/ 401683 h 946"/>
                      <a:gd name="T4" fmla="*/ 1006010 w 799"/>
                      <a:gd name="T5" fmla="*/ 348413 h 946"/>
                      <a:gd name="T6" fmla="*/ 1084440 w 799"/>
                      <a:gd name="T7" fmla="*/ 262030 h 946"/>
                      <a:gd name="T8" fmla="*/ 1006010 w 799"/>
                      <a:gd name="T9" fmla="*/ 156930 h 946"/>
                      <a:gd name="T10" fmla="*/ 947188 w 799"/>
                      <a:gd name="T11" fmla="*/ 86383 h 946"/>
                      <a:gd name="T12" fmla="*/ 867250 w 799"/>
                      <a:gd name="T13" fmla="*/ 122377 h 946"/>
                      <a:gd name="T14" fmla="*/ 808428 w 799"/>
                      <a:gd name="T15" fmla="*/ 156930 h 946"/>
                      <a:gd name="T16" fmla="*/ 729999 w 799"/>
                      <a:gd name="T17" fmla="*/ 191483 h 946"/>
                      <a:gd name="T18" fmla="*/ 690784 w 799"/>
                      <a:gd name="T19" fmla="*/ 139653 h 946"/>
                      <a:gd name="T20" fmla="*/ 630453 w 799"/>
                      <a:gd name="T21" fmla="*/ 0 h 946"/>
                      <a:gd name="T22" fmla="*/ 434379 w 799"/>
                      <a:gd name="T23" fmla="*/ 86383 h 946"/>
                      <a:gd name="T24" fmla="*/ 374049 w 799"/>
                      <a:gd name="T25" fmla="*/ 174207 h 946"/>
                      <a:gd name="T26" fmla="*/ 334834 w 799"/>
                      <a:gd name="T27" fmla="*/ 226037 h 946"/>
                      <a:gd name="T28" fmla="*/ 295619 w 799"/>
                      <a:gd name="T29" fmla="*/ 262030 h 946"/>
                      <a:gd name="T30" fmla="*/ 217190 w 799"/>
                      <a:gd name="T31" fmla="*/ 313860 h 946"/>
                      <a:gd name="T32" fmla="*/ 138760 w 799"/>
                      <a:gd name="T33" fmla="*/ 331137 h 946"/>
                      <a:gd name="T34" fmla="*/ 98037 w 799"/>
                      <a:gd name="T35" fmla="*/ 348413 h 946"/>
                      <a:gd name="T36" fmla="*/ 58822 w 799"/>
                      <a:gd name="T37" fmla="*/ 436236 h 946"/>
                      <a:gd name="T38" fmla="*/ 39215 w 799"/>
                      <a:gd name="T39" fmla="*/ 522620 h 946"/>
                      <a:gd name="T40" fmla="*/ 19607 w 799"/>
                      <a:gd name="T41" fmla="*/ 610443 h 946"/>
                      <a:gd name="T42" fmla="*/ 39215 w 799"/>
                      <a:gd name="T43" fmla="*/ 680990 h 946"/>
                      <a:gd name="T44" fmla="*/ 19607 w 799"/>
                      <a:gd name="T45" fmla="*/ 750096 h 946"/>
                      <a:gd name="T46" fmla="*/ 39215 w 799"/>
                      <a:gd name="T47" fmla="*/ 837919 h 946"/>
                      <a:gd name="T48" fmla="*/ 39215 w 799"/>
                      <a:gd name="T49" fmla="*/ 907026 h 946"/>
                      <a:gd name="T50" fmla="*/ 98037 w 799"/>
                      <a:gd name="T51" fmla="*/ 924303 h 946"/>
                      <a:gd name="T52" fmla="*/ 217190 w 799"/>
                      <a:gd name="T53" fmla="*/ 872473 h 946"/>
                      <a:gd name="T54" fmla="*/ 295619 w 799"/>
                      <a:gd name="T55" fmla="*/ 855196 h 946"/>
                      <a:gd name="T56" fmla="*/ 395165 w 799"/>
                      <a:gd name="T57" fmla="*/ 907026 h 946"/>
                      <a:gd name="T58" fmla="*/ 512809 w 799"/>
                      <a:gd name="T59" fmla="*/ 958856 h 946"/>
                      <a:gd name="T60" fmla="*/ 749606 w 799"/>
                      <a:gd name="T61" fmla="*/ 1029403 h 946"/>
                      <a:gd name="T62" fmla="*/ 808428 w 799"/>
                      <a:gd name="T63" fmla="*/ 1063956 h 946"/>
                      <a:gd name="T64" fmla="*/ 788821 w 799"/>
                      <a:gd name="T65" fmla="*/ 1151779 h 946"/>
                      <a:gd name="T66" fmla="*/ 729999 w 799"/>
                      <a:gd name="T67" fmla="*/ 1220886 h 946"/>
                      <a:gd name="T68" fmla="*/ 749606 w 799"/>
                      <a:gd name="T69" fmla="*/ 1256879 h 946"/>
                      <a:gd name="T70" fmla="*/ 808428 w 799"/>
                      <a:gd name="T71" fmla="*/ 1291433 h 946"/>
                      <a:gd name="T72" fmla="*/ 927581 w 799"/>
                      <a:gd name="T73" fmla="*/ 1343263 h 946"/>
                      <a:gd name="T74" fmla="*/ 966796 w 799"/>
                      <a:gd name="T75" fmla="*/ 1291433 h 946"/>
                      <a:gd name="T76" fmla="*/ 947188 w 799"/>
                      <a:gd name="T77" fmla="*/ 1081233 h 946"/>
                      <a:gd name="T78" fmla="*/ 966796 w 799"/>
                      <a:gd name="T79" fmla="*/ 994849 h 946"/>
                      <a:gd name="T80" fmla="*/ 986403 w 799"/>
                      <a:gd name="T81" fmla="*/ 819203 h 946"/>
                      <a:gd name="T82" fmla="*/ 986403 w 799"/>
                      <a:gd name="T83" fmla="*/ 698266 h 946"/>
                      <a:gd name="T84" fmla="*/ 1143262 w 799"/>
                      <a:gd name="T85" fmla="*/ 698266 h 946"/>
                      <a:gd name="T86" fmla="*/ 1164378 w 799"/>
                      <a:gd name="T87" fmla="*/ 593166 h 94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</a:gdLst>
                    <a:ahLst/>
                    <a:cxnLst>
                      <a:cxn ang="T88">
                        <a:pos x="T0" y="T1"/>
                      </a:cxn>
                      <a:cxn ang="T89">
                        <a:pos x="T2" y="T3"/>
                      </a:cxn>
                      <a:cxn ang="T90">
                        <a:pos x="T4" y="T5"/>
                      </a:cxn>
                      <a:cxn ang="T91">
                        <a:pos x="T6" y="T7"/>
                      </a:cxn>
                      <a:cxn ang="T92">
                        <a:pos x="T8" y="T9"/>
                      </a:cxn>
                      <a:cxn ang="T93">
                        <a:pos x="T10" y="T11"/>
                      </a:cxn>
                      <a:cxn ang="T94">
                        <a:pos x="T12" y="T13"/>
                      </a:cxn>
                      <a:cxn ang="T95">
                        <a:pos x="T14" y="T15"/>
                      </a:cxn>
                      <a:cxn ang="T96">
                        <a:pos x="T16" y="T17"/>
                      </a:cxn>
                      <a:cxn ang="T97">
                        <a:pos x="T18" y="T19"/>
                      </a:cxn>
                      <a:cxn ang="T98">
                        <a:pos x="T20" y="T21"/>
                      </a:cxn>
                      <a:cxn ang="T99">
                        <a:pos x="T22" y="T23"/>
                      </a:cxn>
                      <a:cxn ang="T100">
                        <a:pos x="T24" y="T25"/>
                      </a:cxn>
                      <a:cxn ang="T101">
                        <a:pos x="T26" y="T27"/>
                      </a:cxn>
                      <a:cxn ang="T102">
                        <a:pos x="T28" y="T29"/>
                      </a:cxn>
                      <a:cxn ang="T103">
                        <a:pos x="T30" y="T31"/>
                      </a:cxn>
                      <a:cxn ang="T104">
                        <a:pos x="T32" y="T33"/>
                      </a:cxn>
                      <a:cxn ang="T105">
                        <a:pos x="T34" y="T35"/>
                      </a:cxn>
                      <a:cxn ang="T106">
                        <a:pos x="T36" y="T37"/>
                      </a:cxn>
                      <a:cxn ang="T107">
                        <a:pos x="T38" y="T39"/>
                      </a:cxn>
                      <a:cxn ang="T108">
                        <a:pos x="T40" y="T41"/>
                      </a:cxn>
                      <a:cxn ang="T109">
                        <a:pos x="T42" y="T43"/>
                      </a:cxn>
                      <a:cxn ang="T110">
                        <a:pos x="T44" y="T45"/>
                      </a:cxn>
                      <a:cxn ang="T111">
                        <a:pos x="T46" y="T47"/>
                      </a:cxn>
                      <a:cxn ang="T112">
                        <a:pos x="T48" y="T49"/>
                      </a:cxn>
                      <a:cxn ang="T113">
                        <a:pos x="T50" y="T51"/>
                      </a:cxn>
                      <a:cxn ang="T114">
                        <a:pos x="T52" y="T53"/>
                      </a:cxn>
                      <a:cxn ang="T115">
                        <a:pos x="T54" y="T55"/>
                      </a:cxn>
                      <a:cxn ang="T116">
                        <a:pos x="T56" y="T57"/>
                      </a:cxn>
                      <a:cxn ang="T117">
                        <a:pos x="T58" y="T59"/>
                      </a:cxn>
                      <a:cxn ang="T118">
                        <a:pos x="T60" y="T61"/>
                      </a:cxn>
                      <a:cxn ang="T119">
                        <a:pos x="T62" y="T63"/>
                      </a:cxn>
                      <a:cxn ang="T120">
                        <a:pos x="T64" y="T65"/>
                      </a:cxn>
                      <a:cxn ang="T121">
                        <a:pos x="T66" y="T67"/>
                      </a:cxn>
                      <a:cxn ang="T122">
                        <a:pos x="T68" y="T69"/>
                      </a:cxn>
                      <a:cxn ang="T123">
                        <a:pos x="T70" y="T71"/>
                      </a:cxn>
                      <a:cxn ang="T124">
                        <a:pos x="T72" y="T73"/>
                      </a:cxn>
                      <a:cxn ang="T125">
                        <a:pos x="T74" y="T75"/>
                      </a:cxn>
                      <a:cxn ang="T126">
                        <a:pos x="T76" y="T77"/>
                      </a:cxn>
                      <a:cxn ang="T127">
                        <a:pos x="T78" y="T79"/>
                      </a:cxn>
                      <a:cxn ang="T128">
                        <a:pos x="T80" y="T81"/>
                      </a:cxn>
                      <a:cxn ang="T129">
                        <a:pos x="T82" y="T83"/>
                      </a:cxn>
                      <a:cxn ang="T130">
                        <a:pos x="T84" y="T85"/>
                      </a:cxn>
                      <a:cxn ang="T131">
                        <a:pos x="T86" y="T87"/>
                      </a:cxn>
                    </a:cxnLst>
                    <a:rect l="0" t="0" r="r" b="b"/>
                    <a:pathLst>
                      <a:path w="799" h="946">
                        <a:moveTo>
                          <a:pt x="798" y="363"/>
                        </a:moveTo>
                        <a:lnTo>
                          <a:pt x="745" y="327"/>
                        </a:lnTo>
                        <a:lnTo>
                          <a:pt x="693" y="315"/>
                        </a:lnTo>
                        <a:lnTo>
                          <a:pt x="667" y="279"/>
                        </a:lnTo>
                        <a:lnTo>
                          <a:pt x="654" y="254"/>
                        </a:lnTo>
                        <a:lnTo>
                          <a:pt x="667" y="242"/>
                        </a:lnTo>
                        <a:lnTo>
                          <a:pt x="706" y="218"/>
                        </a:lnTo>
                        <a:lnTo>
                          <a:pt x="719" y="182"/>
                        </a:lnTo>
                        <a:lnTo>
                          <a:pt x="706" y="133"/>
                        </a:lnTo>
                        <a:lnTo>
                          <a:pt x="667" y="109"/>
                        </a:lnTo>
                        <a:lnTo>
                          <a:pt x="654" y="85"/>
                        </a:lnTo>
                        <a:lnTo>
                          <a:pt x="628" y="60"/>
                        </a:lnTo>
                        <a:lnTo>
                          <a:pt x="602" y="73"/>
                        </a:lnTo>
                        <a:lnTo>
                          <a:pt x="575" y="85"/>
                        </a:lnTo>
                        <a:lnTo>
                          <a:pt x="549" y="97"/>
                        </a:lnTo>
                        <a:lnTo>
                          <a:pt x="536" y="109"/>
                        </a:lnTo>
                        <a:lnTo>
                          <a:pt x="510" y="133"/>
                        </a:lnTo>
                        <a:lnTo>
                          <a:pt x="484" y="133"/>
                        </a:lnTo>
                        <a:lnTo>
                          <a:pt x="458" y="121"/>
                        </a:lnTo>
                        <a:lnTo>
                          <a:pt x="458" y="97"/>
                        </a:lnTo>
                        <a:lnTo>
                          <a:pt x="432" y="36"/>
                        </a:lnTo>
                        <a:lnTo>
                          <a:pt x="418" y="0"/>
                        </a:lnTo>
                        <a:lnTo>
                          <a:pt x="340" y="36"/>
                        </a:lnTo>
                        <a:lnTo>
                          <a:pt x="288" y="60"/>
                        </a:lnTo>
                        <a:lnTo>
                          <a:pt x="248" y="97"/>
                        </a:lnTo>
                        <a:lnTo>
                          <a:pt x="248" y="121"/>
                        </a:lnTo>
                        <a:lnTo>
                          <a:pt x="235" y="133"/>
                        </a:lnTo>
                        <a:lnTo>
                          <a:pt x="222" y="157"/>
                        </a:lnTo>
                        <a:lnTo>
                          <a:pt x="209" y="170"/>
                        </a:lnTo>
                        <a:lnTo>
                          <a:pt x="196" y="182"/>
                        </a:lnTo>
                        <a:lnTo>
                          <a:pt x="183" y="194"/>
                        </a:lnTo>
                        <a:lnTo>
                          <a:pt x="144" y="218"/>
                        </a:lnTo>
                        <a:lnTo>
                          <a:pt x="105" y="230"/>
                        </a:lnTo>
                        <a:lnTo>
                          <a:pt x="92" y="230"/>
                        </a:lnTo>
                        <a:lnTo>
                          <a:pt x="79" y="242"/>
                        </a:lnTo>
                        <a:lnTo>
                          <a:pt x="65" y="242"/>
                        </a:lnTo>
                        <a:lnTo>
                          <a:pt x="52" y="266"/>
                        </a:lnTo>
                        <a:lnTo>
                          <a:pt x="39" y="303"/>
                        </a:lnTo>
                        <a:lnTo>
                          <a:pt x="26" y="327"/>
                        </a:lnTo>
                        <a:lnTo>
                          <a:pt x="26" y="363"/>
                        </a:lnTo>
                        <a:lnTo>
                          <a:pt x="26" y="400"/>
                        </a:lnTo>
                        <a:lnTo>
                          <a:pt x="13" y="424"/>
                        </a:lnTo>
                        <a:lnTo>
                          <a:pt x="13" y="448"/>
                        </a:lnTo>
                        <a:lnTo>
                          <a:pt x="26" y="473"/>
                        </a:lnTo>
                        <a:lnTo>
                          <a:pt x="0" y="497"/>
                        </a:lnTo>
                        <a:lnTo>
                          <a:pt x="13" y="521"/>
                        </a:lnTo>
                        <a:lnTo>
                          <a:pt x="13" y="545"/>
                        </a:lnTo>
                        <a:lnTo>
                          <a:pt x="26" y="582"/>
                        </a:lnTo>
                        <a:lnTo>
                          <a:pt x="26" y="606"/>
                        </a:lnTo>
                        <a:lnTo>
                          <a:pt x="26" y="630"/>
                        </a:lnTo>
                        <a:lnTo>
                          <a:pt x="39" y="654"/>
                        </a:lnTo>
                        <a:lnTo>
                          <a:pt x="65" y="642"/>
                        </a:lnTo>
                        <a:lnTo>
                          <a:pt x="105" y="642"/>
                        </a:lnTo>
                        <a:lnTo>
                          <a:pt x="144" y="606"/>
                        </a:lnTo>
                        <a:lnTo>
                          <a:pt x="157" y="594"/>
                        </a:lnTo>
                        <a:lnTo>
                          <a:pt x="196" y="594"/>
                        </a:lnTo>
                        <a:lnTo>
                          <a:pt x="248" y="606"/>
                        </a:lnTo>
                        <a:lnTo>
                          <a:pt x="262" y="630"/>
                        </a:lnTo>
                        <a:lnTo>
                          <a:pt x="288" y="642"/>
                        </a:lnTo>
                        <a:lnTo>
                          <a:pt x="340" y="666"/>
                        </a:lnTo>
                        <a:lnTo>
                          <a:pt x="405" y="715"/>
                        </a:lnTo>
                        <a:lnTo>
                          <a:pt x="497" y="715"/>
                        </a:lnTo>
                        <a:lnTo>
                          <a:pt x="510" y="739"/>
                        </a:lnTo>
                        <a:lnTo>
                          <a:pt x="536" y="739"/>
                        </a:lnTo>
                        <a:lnTo>
                          <a:pt x="536" y="763"/>
                        </a:lnTo>
                        <a:lnTo>
                          <a:pt x="523" y="800"/>
                        </a:lnTo>
                        <a:lnTo>
                          <a:pt x="510" y="824"/>
                        </a:lnTo>
                        <a:lnTo>
                          <a:pt x="484" y="848"/>
                        </a:lnTo>
                        <a:lnTo>
                          <a:pt x="497" y="860"/>
                        </a:lnTo>
                        <a:lnTo>
                          <a:pt x="497" y="873"/>
                        </a:lnTo>
                        <a:lnTo>
                          <a:pt x="510" y="885"/>
                        </a:lnTo>
                        <a:lnTo>
                          <a:pt x="536" y="897"/>
                        </a:lnTo>
                        <a:lnTo>
                          <a:pt x="575" y="921"/>
                        </a:lnTo>
                        <a:lnTo>
                          <a:pt x="615" y="933"/>
                        </a:lnTo>
                        <a:lnTo>
                          <a:pt x="641" y="945"/>
                        </a:lnTo>
                        <a:lnTo>
                          <a:pt x="641" y="897"/>
                        </a:lnTo>
                        <a:lnTo>
                          <a:pt x="641" y="836"/>
                        </a:lnTo>
                        <a:lnTo>
                          <a:pt x="628" y="751"/>
                        </a:lnTo>
                        <a:lnTo>
                          <a:pt x="641" y="715"/>
                        </a:lnTo>
                        <a:lnTo>
                          <a:pt x="641" y="691"/>
                        </a:lnTo>
                        <a:lnTo>
                          <a:pt x="654" y="618"/>
                        </a:lnTo>
                        <a:lnTo>
                          <a:pt x="654" y="569"/>
                        </a:lnTo>
                        <a:lnTo>
                          <a:pt x="667" y="521"/>
                        </a:lnTo>
                        <a:lnTo>
                          <a:pt x="654" y="485"/>
                        </a:lnTo>
                        <a:lnTo>
                          <a:pt x="693" y="485"/>
                        </a:lnTo>
                        <a:lnTo>
                          <a:pt x="758" y="485"/>
                        </a:lnTo>
                        <a:lnTo>
                          <a:pt x="772" y="448"/>
                        </a:lnTo>
                        <a:lnTo>
                          <a:pt x="772" y="412"/>
                        </a:lnTo>
                        <a:lnTo>
                          <a:pt x="798" y="363"/>
                        </a:lnTo>
                      </a:path>
                    </a:pathLst>
                  </a:custGeom>
                  <a:gradFill rotWithShape="1">
                    <a:gsLst>
                      <a:gs pos="0">
                        <a:srgbClr val="65000A"/>
                      </a:gs>
                      <a:gs pos="50000">
                        <a:srgbClr val="940013"/>
                      </a:gs>
                      <a:gs pos="100000">
                        <a:srgbClr val="B1001A"/>
                      </a:gs>
                    </a:gsLst>
                    <a:lin ang="16200000" scaled="1"/>
                  </a:gradFill>
                  <a:ln w="12700" cap="rnd" cmpd="sng">
                    <a:solidFill>
                      <a:srgbClr val="A3F55D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grpSp>
                <p:nvGrpSpPr>
                  <p:cNvPr id="101" name="Group 100">
                    <a:extLst>
                      <a:ext uri="{FF2B5EF4-FFF2-40B4-BE49-F238E27FC236}">
                        <a16:creationId xmlns:a16="http://schemas.microsoft.com/office/drawing/2014/main" id="{8CAD2D5C-5BAB-4E0B-AD84-ECB824746C8D}"/>
                      </a:ext>
                    </a:extLst>
                  </p:cNvPr>
                  <p:cNvGrpSpPr/>
                  <p:nvPr/>
                </p:nvGrpSpPr>
                <p:grpSpPr>
                  <a:xfrm rot="3296955">
                    <a:off x="5519468" y="4549734"/>
                    <a:ext cx="427519" cy="654612"/>
                    <a:chOff x="6691277" y="5064964"/>
                    <a:chExt cx="427519" cy="654612"/>
                  </a:xfrm>
                </p:grpSpPr>
                <p:sp>
                  <p:nvSpPr>
                    <p:cNvPr id="132" name="Freeform 41">
                      <a:extLst>
                        <a:ext uri="{FF2B5EF4-FFF2-40B4-BE49-F238E27FC236}">
                          <a16:creationId xmlns:a16="http://schemas.microsoft.com/office/drawing/2014/main" id="{6D47D4A5-A834-4BE0-95F9-FE17197C5029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766964" y="5067776"/>
                      <a:ext cx="351832" cy="651800"/>
                    </a:xfrm>
                    <a:custGeom>
                      <a:avLst/>
                      <a:gdLst>
                        <a:gd name="T0" fmla="*/ 334892 w 328"/>
                        <a:gd name="T1" fmla="*/ 0 h 255"/>
                        <a:gd name="T2" fmla="*/ 276059 w 328"/>
                        <a:gd name="T3" fmla="*/ 86222 h 255"/>
                        <a:gd name="T4" fmla="*/ 197616 w 328"/>
                        <a:gd name="T5" fmla="*/ 120710 h 255"/>
                        <a:gd name="T6" fmla="*/ 137275 w 328"/>
                        <a:gd name="T7" fmla="*/ 139392 h 255"/>
                        <a:gd name="T8" fmla="*/ 58832 w 328"/>
                        <a:gd name="T9" fmla="*/ 173880 h 255"/>
                        <a:gd name="T10" fmla="*/ 0 w 328"/>
                        <a:gd name="T11" fmla="*/ 208369 h 255"/>
                        <a:gd name="T12" fmla="*/ 19611 w 328"/>
                        <a:gd name="T13" fmla="*/ 242858 h 255"/>
                        <a:gd name="T14" fmla="*/ 19611 w 328"/>
                        <a:gd name="T15" fmla="*/ 296028 h 255"/>
                        <a:gd name="T16" fmla="*/ 58832 w 328"/>
                        <a:gd name="T17" fmla="*/ 347761 h 255"/>
                        <a:gd name="T18" fmla="*/ 98054 w 328"/>
                        <a:gd name="T19" fmla="*/ 330516 h 255"/>
                        <a:gd name="T20" fmla="*/ 137275 w 328"/>
                        <a:gd name="T21" fmla="*/ 313272 h 255"/>
                        <a:gd name="T22" fmla="*/ 217227 w 328"/>
                        <a:gd name="T23" fmla="*/ 365005 h 255"/>
                        <a:gd name="T24" fmla="*/ 295670 w 328"/>
                        <a:gd name="T25" fmla="*/ 347761 h 255"/>
                        <a:gd name="T26" fmla="*/ 354503 w 328"/>
                        <a:gd name="T27" fmla="*/ 313272 h 255"/>
                        <a:gd name="T28" fmla="*/ 393724 w 328"/>
                        <a:gd name="T29" fmla="*/ 260102 h 255"/>
                        <a:gd name="T30" fmla="*/ 473676 w 328"/>
                        <a:gd name="T31" fmla="*/ 191125 h 255"/>
                        <a:gd name="T32" fmla="*/ 493286 w 328"/>
                        <a:gd name="T33" fmla="*/ 120710 h 255"/>
                        <a:gd name="T34" fmla="*/ 454065 w 328"/>
                        <a:gd name="T35" fmla="*/ 68977 h 255"/>
                        <a:gd name="T36" fmla="*/ 334892 w 328"/>
                        <a:gd name="T37" fmla="*/ 0 h 255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0" t="0" r="r" b="b"/>
                      <a:pathLst>
                        <a:path w="328" h="255">
                          <a:moveTo>
                            <a:pt x="222" y="0"/>
                          </a:moveTo>
                          <a:lnTo>
                            <a:pt x="183" y="60"/>
                          </a:lnTo>
                          <a:lnTo>
                            <a:pt x="131" y="84"/>
                          </a:lnTo>
                          <a:lnTo>
                            <a:pt x="91" y="97"/>
                          </a:lnTo>
                          <a:lnTo>
                            <a:pt x="39" y="121"/>
                          </a:lnTo>
                          <a:lnTo>
                            <a:pt x="0" y="145"/>
                          </a:lnTo>
                          <a:lnTo>
                            <a:pt x="13" y="169"/>
                          </a:lnTo>
                          <a:lnTo>
                            <a:pt x="13" y="206"/>
                          </a:lnTo>
                          <a:lnTo>
                            <a:pt x="39" y="242"/>
                          </a:lnTo>
                          <a:lnTo>
                            <a:pt x="65" y="230"/>
                          </a:lnTo>
                          <a:lnTo>
                            <a:pt x="91" y="218"/>
                          </a:lnTo>
                          <a:lnTo>
                            <a:pt x="144" y="254"/>
                          </a:lnTo>
                          <a:lnTo>
                            <a:pt x="196" y="242"/>
                          </a:lnTo>
                          <a:lnTo>
                            <a:pt x="235" y="218"/>
                          </a:lnTo>
                          <a:lnTo>
                            <a:pt x="261" y="181"/>
                          </a:lnTo>
                          <a:lnTo>
                            <a:pt x="314" y="133"/>
                          </a:lnTo>
                          <a:lnTo>
                            <a:pt x="327" y="84"/>
                          </a:lnTo>
                          <a:lnTo>
                            <a:pt x="301" y="48"/>
                          </a:lnTo>
                          <a:lnTo>
                            <a:pt x="222" y="0"/>
                          </a:lnTo>
                        </a:path>
                      </a:pathLst>
                    </a:custGeom>
                    <a:solidFill>
                      <a:srgbClr val="333333"/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3175" cap="flat" cmpd="sng">
                          <a:solidFill>
                            <a:srgbClr val="002277"/>
                          </a:solidFill>
                          <a:prstDash val="solid"/>
                          <a:round/>
                          <a:headEnd type="none" w="sm" len="sm"/>
                          <a:tailEnd type="none" w="sm" len="sm"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17961" dir="2700000" algn="ctr" rotWithShape="0">
                              <a:srgbClr val="1F1F1F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31122" tIns="65561" rIns="131122" bIns="65561">
                      <a:spAutoFit/>
                    </a:bodyPr>
                    <a:lstStyle/>
                    <a:p>
                      <a:pPr algn="ctr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>
                        <a:solidFill>
                          <a:srgbClr val="00007F"/>
                        </a:solidFill>
                        <a:latin typeface="Arial" charset="0"/>
                      </a:endParaRPr>
                    </a:p>
                  </p:txBody>
                </p:sp>
                <p:grpSp>
                  <p:nvGrpSpPr>
                    <p:cNvPr id="133" name="Group 97">
                      <a:extLst>
                        <a:ext uri="{FF2B5EF4-FFF2-40B4-BE49-F238E27FC236}">
                          <a16:creationId xmlns:a16="http://schemas.microsoft.com/office/drawing/2014/main" id="{935CA053-66C6-46A7-9CFA-C19584938A9E}"/>
                        </a:ext>
                      </a:extLst>
                    </p:cNvPr>
                    <p:cNvGrpSpPr>
                      <a:grpSpLocks/>
                    </p:cNvGrpSpPr>
                    <p:nvPr/>
                  </p:nvGrpSpPr>
                  <p:grpSpPr bwMode="auto">
                    <a:xfrm>
                      <a:off x="6691277" y="5064964"/>
                      <a:ext cx="351457" cy="651453"/>
                      <a:chOff x="3973" y="2897"/>
                      <a:chExt cx="232" cy="453"/>
                    </a:xfrm>
                  </p:grpSpPr>
                  <p:sp>
                    <p:nvSpPr>
                      <p:cNvPr id="134" name="Freeform 98">
                        <a:extLst>
                          <a:ext uri="{FF2B5EF4-FFF2-40B4-BE49-F238E27FC236}">
                            <a16:creationId xmlns:a16="http://schemas.microsoft.com/office/drawing/2014/main" id="{660537D4-8FB7-4F7D-A8B5-F254AD0EBA79}"/>
                          </a:ext>
                        </a:extLst>
                      </p:cNvPr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3973" y="2897"/>
                        <a:ext cx="232" cy="453"/>
                      </a:xfrm>
                      <a:custGeom>
                        <a:avLst/>
                        <a:gdLst>
                          <a:gd name="T0" fmla="*/ 222 w 328"/>
                          <a:gd name="T1" fmla="*/ 0 h 255"/>
                          <a:gd name="T2" fmla="*/ 183 w 328"/>
                          <a:gd name="T3" fmla="*/ 60 h 255"/>
                          <a:gd name="T4" fmla="*/ 131 w 328"/>
                          <a:gd name="T5" fmla="*/ 84 h 255"/>
                          <a:gd name="T6" fmla="*/ 91 w 328"/>
                          <a:gd name="T7" fmla="*/ 97 h 255"/>
                          <a:gd name="T8" fmla="*/ 39 w 328"/>
                          <a:gd name="T9" fmla="*/ 121 h 255"/>
                          <a:gd name="T10" fmla="*/ 0 w 328"/>
                          <a:gd name="T11" fmla="*/ 145 h 255"/>
                          <a:gd name="T12" fmla="*/ 13 w 328"/>
                          <a:gd name="T13" fmla="*/ 169 h 255"/>
                          <a:gd name="T14" fmla="*/ 13 w 328"/>
                          <a:gd name="T15" fmla="*/ 206 h 255"/>
                          <a:gd name="T16" fmla="*/ 39 w 328"/>
                          <a:gd name="T17" fmla="*/ 242 h 255"/>
                          <a:gd name="T18" fmla="*/ 65 w 328"/>
                          <a:gd name="T19" fmla="*/ 230 h 255"/>
                          <a:gd name="T20" fmla="*/ 91 w 328"/>
                          <a:gd name="T21" fmla="*/ 218 h 255"/>
                          <a:gd name="T22" fmla="*/ 144 w 328"/>
                          <a:gd name="T23" fmla="*/ 254 h 255"/>
                          <a:gd name="T24" fmla="*/ 196 w 328"/>
                          <a:gd name="T25" fmla="*/ 242 h 255"/>
                          <a:gd name="T26" fmla="*/ 235 w 328"/>
                          <a:gd name="T27" fmla="*/ 218 h 255"/>
                          <a:gd name="T28" fmla="*/ 261 w 328"/>
                          <a:gd name="T29" fmla="*/ 181 h 255"/>
                          <a:gd name="T30" fmla="*/ 314 w 328"/>
                          <a:gd name="T31" fmla="*/ 133 h 255"/>
                          <a:gd name="T32" fmla="*/ 327 w 328"/>
                          <a:gd name="T33" fmla="*/ 84 h 255"/>
                          <a:gd name="T34" fmla="*/ 301 w 328"/>
                          <a:gd name="T35" fmla="*/ 48 h 255"/>
                          <a:gd name="T36" fmla="*/ 222 w 328"/>
                          <a:gd name="T37" fmla="*/ 0 h 255"/>
                          <a:gd name="T38" fmla="*/ 0 60000 65536"/>
                          <a:gd name="T39" fmla="*/ 0 60000 65536"/>
                          <a:gd name="T40" fmla="*/ 0 60000 65536"/>
                          <a:gd name="T41" fmla="*/ 0 60000 65536"/>
                          <a:gd name="T42" fmla="*/ 0 60000 65536"/>
                          <a:gd name="T43" fmla="*/ 0 60000 65536"/>
                          <a:gd name="T44" fmla="*/ 0 60000 65536"/>
                          <a:gd name="T45" fmla="*/ 0 60000 65536"/>
                          <a:gd name="T46" fmla="*/ 0 60000 65536"/>
                          <a:gd name="T47" fmla="*/ 0 60000 65536"/>
                          <a:gd name="T48" fmla="*/ 0 60000 65536"/>
                          <a:gd name="T49" fmla="*/ 0 60000 65536"/>
                          <a:gd name="T50" fmla="*/ 0 60000 65536"/>
                          <a:gd name="T51" fmla="*/ 0 60000 65536"/>
                          <a:gd name="T52" fmla="*/ 0 60000 65536"/>
                          <a:gd name="T53" fmla="*/ 0 60000 65536"/>
                          <a:gd name="T54" fmla="*/ 0 60000 65536"/>
                          <a:gd name="T55" fmla="*/ 0 60000 65536"/>
                          <a:gd name="T56" fmla="*/ 0 60000 65536"/>
                        </a:gdLst>
                        <a:ahLst/>
                        <a:cxnLst>
                          <a:cxn ang="T38">
                            <a:pos x="T0" y="T1"/>
                          </a:cxn>
                          <a:cxn ang="T39">
                            <a:pos x="T2" y="T3"/>
                          </a:cxn>
                          <a:cxn ang="T40">
                            <a:pos x="T4" y="T5"/>
                          </a:cxn>
                          <a:cxn ang="T41">
                            <a:pos x="T6" y="T7"/>
                          </a:cxn>
                          <a:cxn ang="T42">
                            <a:pos x="T8" y="T9"/>
                          </a:cxn>
                          <a:cxn ang="T43">
                            <a:pos x="T10" y="T11"/>
                          </a:cxn>
                          <a:cxn ang="T44">
                            <a:pos x="T12" y="T13"/>
                          </a:cxn>
                          <a:cxn ang="T45">
                            <a:pos x="T14" y="T15"/>
                          </a:cxn>
                          <a:cxn ang="T46">
                            <a:pos x="T16" y="T17"/>
                          </a:cxn>
                          <a:cxn ang="T47">
                            <a:pos x="T18" y="T19"/>
                          </a:cxn>
                          <a:cxn ang="T48">
                            <a:pos x="T20" y="T21"/>
                          </a:cxn>
                          <a:cxn ang="T49">
                            <a:pos x="T22" y="T23"/>
                          </a:cxn>
                          <a:cxn ang="T50">
                            <a:pos x="T24" y="T25"/>
                          </a:cxn>
                          <a:cxn ang="T51">
                            <a:pos x="T26" y="T27"/>
                          </a:cxn>
                          <a:cxn ang="T52">
                            <a:pos x="T28" y="T29"/>
                          </a:cxn>
                          <a:cxn ang="T53">
                            <a:pos x="T30" y="T31"/>
                          </a:cxn>
                          <a:cxn ang="T54">
                            <a:pos x="T32" y="T33"/>
                          </a:cxn>
                          <a:cxn ang="T55">
                            <a:pos x="T34" y="T35"/>
                          </a:cxn>
                          <a:cxn ang="T56">
                            <a:pos x="T36" y="T37"/>
                          </a:cxn>
                        </a:cxnLst>
                        <a:rect l="0" t="0" r="r" b="b"/>
                        <a:pathLst>
                          <a:path w="328" h="255">
                            <a:moveTo>
                              <a:pt x="222" y="0"/>
                            </a:moveTo>
                            <a:lnTo>
                              <a:pt x="183" y="60"/>
                            </a:lnTo>
                            <a:lnTo>
                              <a:pt x="131" y="84"/>
                            </a:lnTo>
                            <a:lnTo>
                              <a:pt x="91" y="97"/>
                            </a:lnTo>
                            <a:lnTo>
                              <a:pt x="39" y="121"/>
                            </a:lnTo>
                            <a:lnTo>
                              <a:pt x="0" y="145"/>
                            </a:lnTo>
                            <a:lnTo>
                              <a:pt x="13" y="169"/>
                            </a:lnTo>
                            <a:lnTo>
                              <a:pt x="13" y="206"/>
                            </a:lnTo>
                            <a:lnTo>
                              <a:pt x="39" y="242"/>
                            </a:lnTo>
                            <a:lnTo>
                              <a:pt x="65" y="230"/>
                            </a:lnTo>
                            <a:lnTo>
                              <a:pt x="91" y="218"/>
                            </a:lnTo>
                            <a:lnTo>
                              <a:pt x="144" y="254"/>
                            </a:lnTo>
                            <a:lnTo>
                              <a:pt x="196" y="242"/>
                            </a:lnTo>
                            <a:lnTo>
                              <a:pt x="235" y="218"/>
                            </a:lnTo>
                            <a:lnTo>
                              <a:pt x="261" y="181"/>
                            </a:lnTo>
                            <a:lnTo>
                              <a:pt x="314" y="133"/>
                            </a:lnTo>
                            <a:lnTo>
                              <a:pt x="327" y="84"/>
                            </a:lnTo>
                            <a:lnTo>
                              <a:pt x="301" y="48"/>
                            </a:lnTo>
                            <a:lnTo>
                              <a:pt x="222" y="0"/>
                            </a:lnTo>
                          </a:path>
                        </a:pathLst>
                      </a:custGeom>
                      <a:solidFill>
                        <a:srgbClr val="A50021"/>
                      </a:solidFill>
                      <a:ln w="3175" cap="flat" cmpd="sng">
                        <a:solidFill>
                          <a:srgbClr val="4D4D4D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  <a:effectLst/>
                      <a:extLs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17961" dir="2700000" algn="ctr" rotWithShape="0">
                                <a:srgbClr val="2E2E2E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lIns="131122" tIns="65561" rIns="131122" bIns="65561">
                        <a:spAutoFit/>
                      </a:bodyPr>
                      <a:lstStyle/>
                      <a:p>
                        <a:pPr algn="ctr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en-US" sz="2400">
                          <a:solidFill>
                            <a:srgbClr val="00007F"/>
                          </a:solidFill>
                          <a:latin typeface="Arial" charset="0"/>
                        </a:endParaRPr>
                      </a:p>
                    </p:txBody>
                  </p:sp>
                  <p:sp>
                    <p:nvSpPr>
                      <p:cNvPr id="135" name="Freeform 99">
                        <a:extLst>
                          <a:ext uri="{FF2B5EF4-FFF2-40B4-BE49-F238E27FC236}">
                            <a16:creationId xmlns:a16="http://schemas.microsoft.com/office/drawing/2014/main" id="{B449380F-F660-4600-AA5D-879D9AE7705F}"/>
                          </a:ext>
                        </a:extLst>
                      </p:cNvPr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3973" y="2897"/>
                        <a:ext cx="232" cy="453"/>
                      </a:xfrm>
                      <a:custGeom>
                        <a:avLst/>
                        <a:gdLst>
                          <a:gd name="T0" fmla="*/ 222 w 328"/>
                          <a:gd name="T1" fmla="*/ 0 h 255"/>
                          <a:gd name="T2" fmla="*/ 183 w 328"/>
                          <a:gd name="T3" fmla="*/ 60 h 255"/>
                          <a:gd name="T4" fmla="*/ 131 w 328"/>
                          <a:gd name="T5" fmla="*/ 84 h 255"/>
                          <a:gd name="T6" fmla="*/ 91 w 328"/>
                          <a:gd name="T7" fmla="*/ 97 h 255"/>
                          <a:gd name="T8" fmla="*/ 39 w 328"/>
                          <a:gd name="T9" fmla="*/ 121 h 255"/>
                          <a:gd name="T10" fmla="*/ 0 w 328"/>
                          <a:gd name="T11" fmla="*/ 145 h 255"/>
                          <a:gd name="T12" fmla="*/ 13 w 328"/>
                          <a:gd name="T13" fmla="*/ 169 h 255"/>
                          <a:gd name="T14" fmla="*/ 13 w 328"/>
                          <a:gd name="T15" fmla="*/ 206 h 255"/>
                          <a:gd name="T16" fmla="*/ 39 w 328"/>
                          <a:gd name="T17" fmla="*/ 242 h 255"/>
                          <a:gd name="T18" fmla="*/ 65 w 328"/>
                          <a:gd name="T19" fmla="*/ 230 h 255"/>
                          <a:gd name="T20" fmla="*/ 91 w 328"/>
                          <a:gd name="T21" fmla="*/ 218 h 255"/>
                          <a:gd name="T22" fmla="*/ 144 w 328"/>
                          <a:gd name="T23" fmla="*/ 254 h 255"/>
                          <a:gd name="T24" fmla="*/ 196 w 328"/>
                          <a:gd name="T25" fmla="*/ 242 h 255"/>
                          <a:gd name="T26" fmla="*/ 235 w 328"/>
                          <a:gd name="T27" fmla="*/ 218 h 255"/>
                          <a:gd name="T28" fmla="*/ 261 w 328"/>
                          <a:gd name="T29" fmla="*/ 181 h 255"/>
                          <a:gd name="T30" fmla="*/ 314 w 328"/>
                          <a:gd name="T31" fmla="*/ 133 h 255"/>
                          <a:gd name="T32" fmla="*/ 327 w 328"/>
                          <a:gd name="T33" fmla="*/ 84 h 255"/>
                          <a:gd name="T34" fmla="*/ 301 w 328"/>
                          <a:gd name="T35" fmla="*/ 48 h 255"/>
                          <a:gd name="T36" fmla="*/ 222 w 328"/>
                          <a:gd name="T37" fmla="*/ 0 h 255"/>
                          <a:gd name="T38" fmla="*/ 0 60000 65536"/>
                          <a:gd name="T39" fmla="*/ 0 60000 65536"/>
                          <a:gd name="T40" fmla="*/ 0 60000 65536"/>
                          <a:gd name="T41" fmla="*/ 0 60000 65536"/>
                          <a:gd name="T42" fmla="*/ 0 60000 65536"/>
                          <a:gd name="T43" fmla="*/ 0 60000 65536"/>
                          <a:gd name="T44" fmla="*/ 0 60000 65536"/>
                          <a:gd name="T45" fmla="*/ 0 60000 65536"/>
                          <a:gd name="T46" fmla="*/ 0 60000 65536"/>
                          <a:gd name="T47" fmla="*/ 0 60000 65536"/>
                          <a:gd name="T48" fmla="*/ 0 60000 65536"/>
                          <a:gd name="T49" fmla="*/ 0 60000 65536"/>
                          <a:gd name="T50" fmla="*/ 0 60000 65536"/>
                          <a:gd name="T51" fmla="*/ 0 60000 65536"/>
                          <a:gd name="T52" fmla="*/ 0 60000 65536"/>
                          <a:gd name="T53" fmla="*/ 0 60000 65536"/>
                          <a:gd name="T54" fmla="*/ 0 60000 65536"/>
                          <a:gd name="T55" fmla="*/ 0 60000 65536"/>
                          <a:gd name="T56" fmla="*/ 0 60000 65536"/>
                        </a:gdLst>
                        <a:ahLst/>
                        <a:cxnLst>
                          <a:cxn ang="T38">
                            <a:pos x="T0" y="T1"/>
                          </a:cxn>
                          <a:cxn ang="T39">
                            <a:pos x="T2" y="T3"/>
                          </a:cxn>
                          <a:cxn ang="T40">
                            <a:pos x="T4" y="T5"/>
                          </a:cxn>
                          <a:cxn ang="T41">
                            <a:pos x="T6" y="T7"/>
                          </a:cxn>
                          <a:cxn ang="T42">
                            <a:pos x="T8" y="T9"/>
                          </a:cxn>
                          <a:cxn ang="T43">
                            <a:pos x="T10" y="T11"/>
                          </a:cxn>
                          <a:cxn ang="T44">
                            <a:pos x="T12" y="T13"/>
                          </a:cxn>
                          <a:cxn ang="T45">
                            <a:pos x="T14" y="T15"/>
                          </a:cxn>
                          <a:cxn ang="T46">
                            <a:pos x="T16" y="T17"/>
                          </a:cxn>
                          <a:cxn ang="T47">
                            <a:pos x="T18" y="T19"/>
                          </a:cxn>
                          <a:cxn ang="T48">
                            <a:pos x="T20" y="T21"/>
                          </a:cxn>
                          <a:cxn ang="T49">
                            <a:pos x="T22" y="T23"/>
                          </a:cxn>
                          <a:cxn ang="T50">
                            <a:pos x="T24" y="T25"/>
                          </a:cxn>
                          <a:cxn ang="T51">
                            <a:pos x="T26" y="T27"/>
                          </a:cxn>
                          <a:cxn ang="T52">
                            <a:pos x="T28" y="T29"/>
                          </a:cxn>
                          <a:cxn ang="T53">
                            <a:pos x="T30" y="T31"/>
                          </a:cxn>
                          <a:cxn ang="T54">
                            <a:pos x="T32" y="T33"/>
                          </a:cxn>
                          <a:cxn ang="T55">
                            <a:pos x="T34" y="T35"/>
                          </a:cxn>
                          <a:cxn ang="T56">
                            <a:pos x="T36" y="T37"/>
                          </a:cxn>
                        </a:cxnLst>
                        <a:rect l="0" t="0" r="r" b="b"/>
                        <a:pathLst>
                          <a:path w="328" h="255">
                            <a:moveTo>
                              <a:pt x="222" y="0"/>
                            </a:moveTo>
                            <a:lnTo>
                              <a:pt x="183" y="60"/>
                            </a:lnTo>
                            <a:lnTo>
                              <a:pt x="131" y="84"/>
                            </a:lnTo>
                            <a:lnTo>
                              <a:pt x="91" y="97"/>
                            </a:lnTo>
                            <a:lnTo>
                              <a:pt x="39" y="121"/>
                            </a:lnTo>
                            <a:lnTo>
                              <a:pt x="0" y="145"/>
                            </a:lnTo>
                            <a:lnTo>
                              <a:pt x="13" y="169"/>
                            </a:lnTo>
                            <a:lnTo>
                              <a:pt x="13" y="206"/>
                            </a:lnTo>
                            <a:lnTo>
                              <a:pt x="39" y="242"/>
                            </a:lnTo>
                            <a:lnTo>
                              <a:pt x="65" y="230"/>
                            </a:lnTo>
                            <a:lnTo>
                              <a:pt x="91" y="218"/>
                            </a:lnTo>
                            <a:lnTo>
                              <a:pt x="144" y="254"/>
                            </a:lnTo>
                            <a:lnTo>
                              <a:pt x="196" y="242"/>
                            </a:lnTo>
                            <a:lnTo>
                              <a:pt x="235" y="218"/>
                            </a:lnTo>
                            <a:lnTo>
                              <a:pt x="261" y="181"/>
                            </a:lnTo>
                            <a:lnTo>
                              <a:pt x="314" y="133"/>
                            </a:lnTo>
                            <a:lnTo>
                              <a:pt x="327" y="84"/>
                            </a:lnTo>
                            <a:lnTo>
                              <a:pt x="301" y="48"/>
                            </a:lnTo>
                            <a:lnTo>
                              <a:pt x="222" y="0"/>
                            </a:lnTo>
                          </a:path>
                        </a:pathLst>
                      </a:custGeom>
                      <a:gradFill rotWithShape="1">
                        <a:gsLst>
                          <a:gs pos="0">
                            <a:srgbClr val="65000A"/>
                          </a:gs>
                          <a:gs pos="50000">
                            <a:srgbClr val="940013"/>
                          </a:gs>
                          <a:gs pos="100000">
                            <a:srgbClr val="B1001A"/>
                          </a:gs>
                        </a:gsLst>
                        <a:lin ang="16200000" scaled="1"/>
                      </a:gradFill>
                      <a:ln w="12700" cap="flat" cmpd="sng">
                        <a:solidFill>
                          <a:srgbClr val="A3F55D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  <a:effectLst/>
                      <a:extLs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17961" dir="2700000" algn="ctr" rotWithShape="0">
                                <a:srgbClr val="629338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lIns="131122" tIns="65561" rIns="131122" bIns="65561">
                        <a:spAutoFit/>
                      </a:bodyPr>
                      <a:lstStyle/>
                      <a:p>
                        <a:pPr algn="ctr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en-US" sz="2400">
                          <a:solidFill>
                            <a:srgbClr val="00007F"/>
                          </a:solidFill>
                          <a:latin typeface="Arial" charset="0"/>
                        </a:endParaRPr>
                      </a:p>
                    </p:txBody>
                  </p:sp>
                </p:grpSp>
              </p:grpSp>
              <p:sp>
                <p:nvSpPr>
                  <p:cNvPr id="102" name="Freeform 100">
                    <a:extLst>
                      <a:ext uri="{FF2B5EF4-FFF2-40B4-BE49-F238E27FC236}">
                        <a16:creationId xmlns:a16="http://schemas.microsoft.com/office/drawing/2014/main" id="{D601A28C-B245-4535-9F76-937E9C9605B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608907" y="3827611"/>
                    <a:ext cx="1492250" cy="1173163"/>
                  </a:xfrm>
                  <a:custGeom>
                    <a:avLst/>
                    <a:gdLst>
                      <a:gd name="T0" fmla="*/ 61885 w 941"/>
                      <a:gd name="T1" fmla="*/ 769706 h 776"/>
                      <a:gd name="T2" fmla="*/ 82514 w 941"/>
                      <a:gd name="T3" fmla="*/ 842292 h 776"/>
                      <a:gd name="T4" fmla="*/ 226913 w 941"/>
                      <a:gd name="T5" fmla="*/ 842292 h 776"/>
                      <a:gd name="T6" fmla="*/ 372899 w 941"/>
                      <a:gd name="T7" fmla="*/ 916389 h 776"/>
                      <a:gd name="T8" fmla="*/ 518884 w 941"/>
                      <a:gd name="T9" fmla="*/ 988974 h 776"/>
                      <a:gd name="T10" fmla="*/ 601398 w 941"/>
                      <a:gd name="T11" fmla="*/ 1081218 h 776"/>
                      <a:gd name="T12" fmla="*/ 663283 w 941"/>
                      <a:gd name="T13" fmla="*/ 1153803 h 776"/>
                      <a:gd name="T14" fmla="*/ 788641 w 941"/>
                      <a:gd name="T15" fmla="*/ 1171950 h 776"/>
                      <a:gd name="T16" fmla="*/ 931453 w 941"/>
                      <a:gd name="T17" fmla="*/ 1171950 h 776"/>
                      <a:gd name="T18" fmla="*/ 972710 w 941"/>
                      <a:gd name="T19" fmla="*/ 1081218 h 776"/>
                      <a:gd name="T20" fmla="*/ 1055224 w 941"/>
                      <a:gd name="T21" fmla="*/ 1044926 h 776"/>
                      <a:gd name="T22" fmla="*/ 1221838 w 941"/>
                      <a:gd name="T23" fmla="*/ 934535 h 776"/>
                      <a:gd name="T24" fmla="*/ 1242466 w 941"/>
                      <a:gd name="T25" fmla="*/ 824145 h 776"/>
                      <a:gd name="T26" fmla="*/ 1304352 w 941"/>
                      <a:gd name="T27" fmla="*/ 695609 h 776"/>
                      <a:gd name="T28" fmla="*/ 1367824 w 941"/>
                      <a:gd name="T29" fmla="*/ 604877 h 776"/>
                      <a:gd name="T30" fmla="*/ 1409080 w 941"/>
                      <a:gd name="T31" fmla="*/ 530780 h 776"/>
                      <a:gd name="T32" fmla="*/ 1409080 w 941"/>
                      <a:gd name="T33" fmla="*/ 458195 h 776"/>
                      <a:gd name="T34" fmla="*/ 1388452 w 941"/>
                      <a:gd name="T35" fmla="*/ 420390 h 776"/>
                      <a:gd name="T36" fmla="*/ 1429709 w 941"/>
                      <a:gd name="T37" fmla="*/ 365951 h 776"/>
                      <a:gd name="T38" fmla="*/ 1491594 w 941"/>
                      <a:gd name="T39" fmla="*/ 311512 h 776"/>
                      <a:gd name="T40" fmla="*/ 1491594 w 941"/>
                      <a:gd name="T41" fmla="*/ 255561 h 776"/>
                      <a:gd name="T42" fmla="*/ 1470966 w 941"/>
                      <a:gd name="T43" fmla="*/ 219268 h 776"/>
                      <a:gd name="T44" fmla="*/ 1388452 w 941"/>
                      <a:gd name="T45" fmla="*/ 182975 h 776"/>
                      <a:gd name="T46" fmla="*/ 1221838 w 941"/>
                      <a:gd name="T47" fmla="*/ 164829 h 776"/>
                      <a:gd name="T48" fmla="*/ 1159953 w 941"/>
                      <a:gd name="T49" fmla="*/ 108878 h 776"/>
                      <a:gd name="T50" fmla="*/ 1055224 w 941"/>
                      <a:gd name="T51" fmla="*/ 72585 h 776"/>
                      <a:gd name="T52" fmla="*/ 993338 w 941"/>
                      <a:gd name="T53" fmla="*/ 36293 h 776"/>
                      <a:gd name="T54" fmla="*/ 910825 w 941"/>
                      <a:gd name="T55" fmla="*/ 0 h 776"/>
                      <a:gd name="T56" fmla="*/ 828311 w 941"/>
                      <a:gd name="T57" fmla="*/ 54439 h 776"/>
                      <a:gd name="T58" fmla="*/ 764839 w 941"/>
                      <a:gd name="T59" fmla="*/ 90732 h 776"/>
                      <a:gd name="T60" fmla="*/ 683912 w 941"/>
                      <a:gd name="T61" fmla="*/ 108878 h 776"/>
                      <a:gd name="T62" fmla="*/ 580770 w 941"/>
                      <a:gd name="T63" fmla="*/ 164829 h 776"/>
                      <a:gd name="T64" fmla="*/ 539513 w 941"/>
                      <a:gd name="T65" fmla="*/ 219268 h 776"/>
                      <a:gd name="T66" fmla="*/ 560141 w 941"/>
                      <a:gd name="T67" fmla="*/ 273707 h 776"/>
                      <a:gd name="T68" fmla="*/ 560141 w 941"/>
                      <a:gd name="T69" fmla="*/ 347804 h 776"/>
                      <a:gd name="T70" fmla="*/ 518884 w 941"/>
                      <a:gd name="T71" fmla="*/ 420390 h 776"/>
                      <a:gd name="T72" fmla="*/ 476041 w 941"/>
                      <a:gd name="T73" fmla="*/ 494487 h 776"/>
                      <a:gd name="T74" fmla="*/ 352270 w 941"/>
                      <a:gd name="T75" fmla="*/ 567072 h 776"/>
                      <a:gd name="T76" fmla="*/ 290385 w 941"/>
                      <a:gd name="T77" fmla="*/ 567072 h 776"/>
                      <a:gd name="T78" fmla="*/ 185656 w 941"/>
                      <a:gd name="T79" fmla="*/ 641170 h 776"/>
                      <a:gd name="T80" fmla="*/ 0 w 941"/>
                      <a:gd name="T81" fmla="*/ 731902 h 77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</a:gdLst>
                    <a:ahLst/>
                    <a:cxnLst>
                      <a:cxn ang="T82">
                        <a:pos x="T0" y="T1"/>
                      </a:cxn>
                      <a:cxn ang="T83">
                        <a:pos x="T2" y="T3"/>
                      </a:cxn>
                      <a:cxn ang="T84">
                        <a:pos x="T4" y="T5"/>
                      </a:cxn>
                      <a:cxn ang="T85">
                        <a:pos x="T6" y="T7"/>
                      </a:cxn>
                      <a:cxn ang="T86">
                        <a:pos x="T8" y="T9"/>
                      </a:cxn>
                      <a:cxn ang="T87">
                        <a:pos x="T10" y="T11"/>
                      </a:cxn>
                      <a:cxn ang="T88">
                        <a:pos x="T12" y="T13"/>
                      </a:cxn>
                      <a:cxn ang="T89">
                        <a:pos x="T14" y="T15"/>
                      </a:cxn>
                      <a:cxn ang="T90">
                        <a:pos x="T16" y="T17"/>
                      </a:cxn>
                      <a:cxn ang="T91">
                        <a:pos x="T18" y="T19"/>
                      </a:cxn>
                      <a:cxn ang="T92">
                        <a:pos x="T20" y="T21"/>
                      </a:cxn>
                      <a:cxn ang="T93">
                        <a:pos x="T22" y="T23"/>
                      </a:cxn>
                      <a:cxn ang="T94">
                        <a:pos x="T24" y="T25"/>
                      </a:cxn>
                      <a:cxn ang="T95">
                        <a:pos x="T26" y="T27"/>
                      </a:cxn>
                      <a:cxn ang="T96">
                        <a:pos x="T28" y="T29"/>
                      </a:cxn>
                      <a:cxn ang="T97">
                        <a:pos x="T30" y="T31"/>
                      </a:cxn>
                      <a:cxn ang="T98">
                        <a:pos x="T32" y="T33"/>
                      </a:cxn>
                      <a:cxn ang="T99">
                        <a:pos x="T34" y="T35"/>
                      </a:cxn>
                      <a:cxn ang="T100">
                        <a:pos x="T36" y="T37"/>
                      </a:cxn>
                      <a:cxn ang="T101">
                        <a:pos x="T38" y="T39"/>
                      </a:cxn>
                      <a:cxn ang="T102">
                        <a:pos x="T40" y="T41"/>
                      </a:cxn>
                      <a:cxn ang="T103">
                        <a:pos x="T42" y="T43"/>
                      </a:cxn>
                      <a:cxn ang="T104">
                        <a:pos x="T44" y="T45"/>
                      </a:cxn>
                      <a:cxn ang="T105">
                        <a:pos x="T46" y="T47"/>
                      </a:cxn>
                      <a:cxn ang="T106">
                        <a:pos x="T48" y="T49"/>
                      </a:cxn>
                      <a:cxn ang="T107">
                        <a:pos x="T50" y="T51"/>
                      </a:cxn>
                      <a:cxn ang="T108">
                        <a:pos x="T52" y="T53"/>
                      </a:cxn>
                      <a:cxn ang="T109">
                        <a:pos x="T54" y="T55"/>
                      </a:cxn>
                      <a:cxn ang="T110">
                        <a:pos x="T56" y="T57"/>
                      </a:cxn>
                      <a:cxn ang="T111">
                        <a:pos x="T58" y="T59"/>
                      </a:cxn>
                      <a:cxn ang="T112">
                        <a:pos x="T60" y="T61"/>
                      </a:cxn>
                      <a:cxn ang="T113">
                        <a:pos x="T62" y="T63"/>
                      </a:cxn>
                      <a:cxn ang="T114">
                        <a:pos x="T64" y="T65"/>
                      </a:cxn>
                      <a:cxn ang="T115">
                        <a:pos x="T66" y="T67"/>
                      </a:cxn>
                      <a:cxn ang="T116">
                        <a:pos x="T68" y="T69"/>
                      </a:cxn>
                      <a:cxn ang="T117">
                        <a:pos x="T70" y="T71"/>
                      </a:cxn>
                      <a:cxn ang="T118">
                        <a:pos x="T72" y="T73"/>
                      </a:cxn>
                      <a:cxn ang="T119">
                        <a:pos x="T74" y="T75"/>
                      </a:cxn>
                      <a:cxn ang="T120">
                        <a:pos x="T76" y="T77"/>
                      </a:cxn>
                      <a:cxn ang="T121">
                        <a:pos x="T78" y="T79"/>
                      </a:cxn>
                      <a:cxn ang="T122">
                        <a:pos x="T80" y="T81"/>
                      </a:cxn>
                    </a:cxnLst>
                    <a:rect l="0" t="0" r="r" b="b"/>
                    <a:pathLst>
                      <a:path w="941" h="776">
                        <a:moveTo>
                          <a:pt x="0" y="484"/>
                        </a:moveTo>
                        <a:lnTo>
                          <a:pt x="39" y="509"/>
                        </a:lnTo>
                        <a:lnTo>
                          <a:pt x="52" y="545"/>
                        </a:lnTo>
                        <a:lnTo>
                          <a:pt x="52" y="557"/>
                        </a:lnTo>
                        <a:lnTo>
                          <a:pt x="65" y="545"/>
                        </a:lnTo>
                        <a:lnTo>
                          <a:pt x="143" y="557"/>
                        </a:lnTo>
                        <a:lnTo>
                          <a:pt x="196" y="581"/>
                        </a:lnTo>
                        <a:lnTo>
                          <a:pt x="235" y="606"/>
                        </a:lnTo>
                        <a:lnTo>
                          <a:pt x="287" y="618"/>
                        </a:lnTo>
                        <a:lnTo>
                          <a:pt x="327" y="654"/>
                        </a:lnTo>
                        <a:lnTo>
                          <a:pt x="366" y="691"/>
                        </a:lnTo>
                        <a:lnTo>
                          <a:pt x="379" y="715"/>
                        </a:lnTo>
                        <a:lnTo>
                          <a:pt x="405" y="739"/>
                        </a:lnTo>
                        <a:lnTo>
                          <a:pt x="418" y="763"/>
                        </a:lnTo>
                        <a:lnTo>
                          <a:pt x="431" y="775"/>
                        </a:lnTo>
                        <a:lnTo>
                          <a:pt x="497" y="775"/>
                        </a:lnTo>
                        <a:lnTo>
                          <a:pt x="535" y="763"/>
                        </a:lnTo>
                        <a:lnTo>
                          <a:pt x="587" y="775"/>
                        </a:lnTo>
                        <a:lnTo>
                          <a:pt x="574" y="727"/>
                        </a:lnTo>
                        <a:lnTo>
                          <a:pt x="613" y="715"/>
                        </a:lnTo>
                        <a:lnTo>
                          <a:pt x="639" y="715"/>
                        </a:lnTo>
                        <a:lnTo>
                          <a:pt x="665" y="691"/>
                        </a:lnTo>
                        <a:lnTo>
                          <a:pt x="744" y="666"/>
                        </a:lnTo>
                        <a:lnTo>
                          <a:pt x="770" y="618"/>
                        </a:lnTo>
                        <a:lnTo>
                          <a:pt x="770" y="581"/>
                        </a:lnTo>
                        <a:lnTo>
                          <a:pt x="783" y="545"/>
                        </a:lnTo>
                        <a:lnTo>
                          <a:pt x="809" y="497"/>
                        </a:lnTo>
                        <a:lnTo>
                          <a:pt x="822" y="460"/>
                        </a:lnTo>
                        <a:lnTo>
                          <a:pt x="862" y="436"/>
                        </a:lnTo>
                        <a:lnTo>
                          <a:pt x="862" y="400"/>
                        </a:lnTo>
                        <a:lnTo>
                          <a:pt x="888" y="375"/>
                        </a:lnTo>
                        <a:lnTo>
                          <a:pt x="888" y="351"/>
                        </a:lnTo>
                        <a:lnTo>
                          <a:pt x="888" y="327"/>
                        </a:lnTo>
                        <a:lnTo>
                          <a:pt x="888" y="303"/>
                        </a:lnTo>
                        <a:lnTo>
                          <a:pt x="875" y="291"/>
                        </a:lnTo>
                        <a:lnTo>
                          <a:pt x="875" y="278"/>
                        </a:lnTo>
                        <a:lnTo>
                          <a:pt x="888" y="254"/>
                        </a:lnTo>
                        <a:lnTo>
                          <a:pt x="901" y="242"/>
                        </a:lnTo>
                        <a:lnTo>
                          <a:pt x="914" y="230"/>
                        </a:lnTo>
                        <a:lnTo>
                          <a:pt x="940" y="206"/>
                        </a:lnTo>
                        <a:lnTo>
                          <a:pt x="940" y="181"/>
                        </a:lnTo>
                        <a:lnTo>
                          <a:pt x="940" y="169"/>
                        </a:lnTo>
                        <a:lnTo>
                          <a:pt x="940" y="157"/>
                        </a:lnTo>
                        <a:lnTo>
                          <a:pt x="927" y="145"/>
                        </a:lnTo>
                        <a:lnTo>
                          <a:pt x="901" y="145"/>
                        </a:lnTo>
                        <a:lnTo>
                          <a:pt x="875" y="121"/>
                        </a:lnTo>
                        <a:lnTo>
                          <a:pt x="822" y="109"/>
                        </a:lnTo>
                        <a:lnTo>
                          <a:pt x="770" y="109"/>
                        </a:lnTo>
                        <a:lnTo>
                          <a:pt x="744" y="84"/>
                        </a:lnTo>
                        <a:lnTo>
                          <a:pt x="731" y="72"/>
                        </a:lnTo>
                        <a:lnTo>
                          <a:pt x="692" y="60"/>
                        </a:lnTo>
                        <a:lnTo>
                          <a:pt x="665" y="48"/>
                        </a:lnTo>
                        <a:lnTo>
                          <a:pt x="652" y="36"/>
                        </a:lnTo>
                        <a:lnTo>
                          <a:pt x="626" y="24"/>
                        </a:lnTo>
                        <a:lnTo>
                          <a:pt x="587" y="12"/>
                        </a:lnTo>
                        <a:lnTo>
                          <a:pt x="574" y="0"/>
                        </a:lnTo>
                        <a:lnTo>
                          <a:pt x="535" y="12"/>
                        </a:lnTo>
                        <a:lnTo>
                          <a:pt x="522" y="36"/>
                        </a:lnTo>
                        <a:lnTo>
                          <a:pt x="497" y="48"/>
                        </a:lnTo>
                        <a:lnTo>
                          <a:pt x="482" y="60"/>
                        </a:lnTo>
                        <a:lnTo>
                          <a:pt x="456" y="60"/>
                        </a:lnTo>
                        <a:lnTo>
                          <a:pt x="431" y="72"/>
                        </a:lnTo>
                        <a:lnTo>
                          <a:pt x="418" y="84"/>
                        </a:lnTo>
                        <a:lnTo>
                          <a:pt x="366" y="109"/>
                        </a:lnTo>
                        <a:lnTo>
                          <a:pt x="340" y="121"/>
                        </a:lnTo>
                        <a:lnTo>
                          <a:pt x="340" y="145"/>
                        </a:lnTo>
                        <a:lnTo>
                          <a:pt x="340" y="169"/>
                        </a:lnTo>
                        <a:lnTo>
                          <a:pt x="353" y="181"/>
                        </a:lnTo>
                        <a:lnTo>
                          <a:pt x="353" y="194"/>
                        </a:lnTo>
                        <a:lnTo>
                          <a:pt x="353" y="230"/>
                        </a:lnTo>
                        <a:lnTo>
                          <a:pt x="340" y="254"/>
                        </a:lnTo>
                        <a:lnTo>
                          <a:pt x="327" y="278"/>
                        </a:lnTo>
                        <a:lnTo>
                          <a:pt x="313" y="303"/>
                        </a:lnTo>
                        <a:lnTo>
                          <a:pt x="300" y="327"/>
                        </a:lnTo>
                        <a:lnTo>
                          <a:pt x="274" y="363"/>
                        </a:lnTo>
                        <a:lnTo>
                          <a:pt x="222" y="375"/>
                        </a:lnTo>
                        <a:lnTo>
                          <a:pt x="196" y="363"/>
                        </a:lnTo>
                        <a:lnTo>
                          <a:pt x="183" y="375"/>
                        </a:lnTo>
                        <a:lnTo>
                          <a:pt x="143" y="400"/>
                        </a:lnTo>
                        <a:lnTo>
                          <a:pt x="117" y="424"/>
                        </a:lnTo>
                        <a:lnTo>
                          <a:pt x="104" y="436"/>
                        </a:lnTo>
                        <a:lnTo>
                          <a:pt x="0" y="484"/>
                        </a:lnTo>
                      </a:path>
                    </a:pathLst>
                  </a:custGeom>
                  <a:gradFill rotWithShape="1">
                    <a:gsLst>
                      <a:gs pos="0">
                        <a:srgbClr val="A05900"/>
                      </a:gs>
                      <a:gs pos="50000">
                        <a:srgbClr val="E68300"/>
                      </a:gs>
                      <a:gs pos="100000">
                        <a:srgbClr val="FF9D00"/>
                      </a:gs>
                    </a:gsLst>
                    <a:lin ang="13500000" scaled="1"/>
                  </a:gradFill>
                  <a:ln w="12700" cap="rnd" cmpd="sng">
                    <a:solidFill>
                      <a:srgbClr val="99CC00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5C7A0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03" name="Freeform 101">
                    <a:extLst>
                      <a:ext uri="{FF2B5EF4-FFF2-40B4-BE49-F238E27FC236}">
                        <a16:creationId xmlns:a16="http://schemas.microsoft.com/office/drawing/2014/main" id="{F86F7BEE-D710-4D51-9506-F623F944A36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164282" y="3187849"/>
                    <a:ext cx="1658938" cy="1292225"/>
                  </a:xfrm>
                  <a:custGeom>
                    <a:avLst/>
                    <a:gdLst>
                      <a:gd name="T0" fmla="*/ 1521323 w 1099"/>
                      <a:gd name="T1" fmla="*/ 34532 h 898"/>
                      <a:gd name="T2" fmla="*/ 1225217 w 1099"/>
                      <a:gd name="T3" fmla="*/ 51798 h 898"/>
                      <a:gd name="T4" fmla="*/ 948750 w 1099"/>
                      <a:gd name="T5" fmla="*/ 69064 h 898"/>
                      <a:gd name="T6" fmla="*/ 731202 w 1099"/>
                      <a:gd name="T7" fmla="*/ 87769 h 898"/>
                      <a:gd name="T8" fmla="*/ 611853 w 1099"/>
                      <a:gd name="T9" fmla="*/ 51798 h 898"/>
                      <a:gd name="T10" fmla="*/ 513654 w 1099"/>
                      <a:gd name="T11" fmla="*/ 69064 h 898"/>
                      <a:gd name="T12" fmla="*/ 374665 w 1099"/>
                      <a:gd name="T13" fmla="*/ 122302 h 898"/>
                      <a:gd name="T14" fmla="*/ 237187 w 1099"/>
                      <a:gd name="T15" fmla="*/ 156834 h 898"/>
                      <a:gd name="T16" fmla="*/ 98199 w 1099"/>
                      <a:gd name="T17" fmla="*/ 156834 h 898"/>
                      <a:gd name="T18" fmla="*/ 0 w 1099"/>
                      <a:gd name="T19" fmla="*/ 139568 h 898"/>
                      <a:gd name="T20" fmla="*/ 0 w 1099"/>
                      <a:gd name="T21" fmla="*/ 208632 h 898"/>
                      <a:gd name="T22" fmla="*/ 58919 w 1099"/>
                      <a:gd name="T23" fmla="*/ 296401 h 898"/>
                      <a:gd name="T24" fmla="*/ 117838 w 1099"/>
                      <a:gd name="T25" fmla="*/ 401437 h 898"/>
                      <a:gd name="T26" fmla="*/ 197908 w 1099"/>
                      <a:gd name="T27" fmla="*/ 505033 h 898"/>
                      <a:gd name="T28" fmla="*/ 138989 w 1099"/>
                      <a:gd name="T29" fmla="*/ 610069 h 898"/>
                      <a:gd name="T30" fmla="*/ 117838 w 1099"/>
                      <a:gd name="T31" fmla="*/ 715104 h 898"/>
                      <a:gd name="T32" fmla="*/ 138989 w 1099"/>
                      <a:gd name="T33" fmla="*/ 820140 h 898"/>
                      <a:gd name="T34" fmla="*/ 315746 w 1099"/>
                      <a:gd name="T35" fmla="*/ 871938 h 898"/>
                      <a:gd name="T36" fmla="*/ 335386 w 1099"/>
                      <a:gd name="T37" fmla="*/ 1028772 h 898"/>
                      <a:gd name="T38" fmla="*/ 454735 w 1099"/>
                      <a:gd name="T39" fmla="*/ 1133807 h 898"/>
                      <a:gd name="T40" fmla="*/ 572573 w 1099"/>
                      <a:gd name="T41" fmla="*/ 1151073 h 898"/>
                      <a:gd name="T42" fmla="*/ 631493 w 1099"/>
                      <a:gd name="T43" fmla="*/ 1237404 h 898"/>
                      <a:gd name="T44" fmla="*/ 809761 w 1099"/>
                      <a:gd name="T45" fmla="*/ 1273375 h 898"/>
                      <a:gd name="T46" fmla="*/ 909470 w 1099"/>
                      <a:gd name="T47" fmla="*/ 1256109 h 898"/>
                      <a:gd name="T48" fmla="*/ 1066588 w 1099"/>
                      <a:gd name="T49" fmla="*/ 1237404 h 898"/>
                      <a:gd name="T50" fmla="*/ 1105868 w 1099"/>
                      <a:gd name="T51" fmla="*/ 1256109 h 898"/>
                      <a:gd name="T52" fmla="*/ 1225217 w 1099"/>
                      <a:gd name="T53" fmla="*/ 1220138 h 898"/>
                      <a:gd name="T54" fmla="*/ 1343055 w 1099"/>
                      <a:gd name="T55" fmla="*/ 1011506 h 898"/>
                      <a:gd name="T56" fmla="*/ 1501683 w 1099"/>
                      <a:gd name="T57" fmla="*/ 837406 h 898"/>
                      <a:gd name="T58" fmla="*/ 1580242 w 1099"/>
                      <a:gd name="T59" fmla="*/ 627335 h 898"/>
                      <a:gd name="T60" fmla="*/ 1560603 w 1099"/>
                      <a:gd name="T61" fmla="*/ 487767 h 898"/>
                      <a:gd name="T62" fmla="*/ 1560603 w 1099"/>
                      <a:gd name="T63" fmla="*/ 330934 h 898"/>
                      <a:gd name="T64" fmla="*/ 1619522 w 1099"/>
                      <a:gd name="T65" fmla="*/ 191366 h 898"/>
                      <a:gd name="T66" fmla="*/ 1658801 w 1099"/>
                      <a:gd name="T67" fmla="*/ 105035 h 898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1099" h="898">
                        <a:moveTo>
                          <a:pt x="1085" y="0"/>
                        </a:moveTo>
                        <a:lnTo>
                          <a:pt x="1007" y="24"/>
                        </a:lnTo>
                        <a:lnTo>
                          <a:pt x="889" y="48"/>
                        </a:lnTo>
                        <a:lnTo>
                          <a:pt x="811" y="36"/>
                        </a:lnTo>
                        <a:lnTo>
                          <a:pt x="719" y="48"/>
                        </a:lnTo>
                        <a:lnTo>
                          <a:pt x="628" y="48"/>
                        </a:lnTo>
                        <a:lnTo>
                          <a:pt x="562" y="48"/>
                        </a:lnTo>
                        <a:lnTo>
                          <a:pt x="484" y="61"/>
                        </a:lnTo>
                        <a:lnTo>
                          <a:pt x="418" y="12"/>
                        </a:lnTo>
                        <a:lnTo>
                          <a:pt x="405" y="36"/>
                        </a:lnTo>
                        <a:lnTo>
                          <a:pt x="379" y="48"/>
                        </a:lnTo>
                        <a:lnTo>
                          <a:pt x="340" y="48"/>
                        </a:lnTo>
                        <a:lnTo>
                          <a:pt x="275" y="73"/>
                        </a:lnTo>
                        <a:lnTo>
                          <a:pt x="248" y="85"/>
                        </a:lnTo>
                        <a:lnTo>
                          <a:pt x="183" y="97"/>
                        </a:lnTo>
                        <a:lnTo>
                          <a:pt x="157" y="109"/>
                        </a:lnTo>
                        <a:lnTo>
                          <a:pt x="65" y="121"/>
                        </a:lnTo>
                        <a:lnTo>
                          <a:pt x="65" y="109"/>
                        </a:lnTo>
                        <a:lnTo>
                          <a:pt x="39" y="97"/>
                        </a:lnTo>
                        <a:lnTo>
                          <a:pt x="0" y="97"/>
                        </a:lnTo>
                        <a:lnTo>
                          <a:pt x="0" y="121"/>
                        </a:lnTo>
                        <a:lnTo>
                          <a:pt x="0" y="145"/>
                        </a:lnTo>
                        <a:lnTo>
                          <a:pt x="0" y="170"/>
                        </a:lnTo>
                        <a:lnTo>
                          <a:pt x="39" y="206"/>
                        </a:lnTo>
                        <a:lnTo>
                          <a:pt x="52" y="242"/>
                        </a:lnTo>
                        <a:lnTo>
                          <a:pt x="78" y="279"/>
                        </a:lnTo>
                        <a:lnTo>
                          <a:pt x="92" y="327"/>
                        </a:lnTo>
                        <a:lnTo>
                          <a:pt x="131" y="351"/>
                        </a:lnTo>
                        <a:lnTo>
                          <a:pt x="118" y="388"/>
                        </a:lnTo>
                        <a:lnTo>
                          <a:pt x="92" y="424"/>
                        </a:lnTo>
                        <a:lnTo>
                          <a:pt x="92" y="460"/>
                        </a:lnTo>
                        <a:lnTo>
                          <a:pt x="78" y="497"/>
                        </a:lnTo>
                        <a:lnTo>
                          <a:pt x="78" y="533"/>
                        </a:lnTo>
                        <a:lnTo>
                          <a:pt x="92" y="570"/>
                        </a:lnTo>
                        <a:lnTo>
                          <a:pt x="157" y="582"/>
                        </a:lnTo>
                        <a:lnTo>
                          <a:pt x="209" y="606"/>
                        </a:lnTo>
                        <a:lnTo>
                          <a:pt x="209" y="642"/>
                        </a:lnTo>
                        <a:lnTo>
                          <a:pt x="222" y="715"/>
                        </a:lnTo>
                        <a:lnTo>
                          <a:pt x="248" y="764"/>
                        </a:lnTo>
                        <a:lnTo>
                          <a:pt x="301" y="788"/>
                        </a:lnTo>
                        <a:lnTo>
                          <a:pt x="340" y="788"/>
                        </a:lnTo>
                        <a:lnTo>
                          <a:pt x="379" y="800"/>
                        </a:lnTo>
                        <a:lnTo>
                          <a:pt x="392" y="812"/>
                        </a:lnTo>
                        <a:lnTo>
                          <a:pt x="418" y="860"/>
                        </a:lnTo>
                        <a:lnTo>
                          <a:pt x="497" y="897"/>
                        </a:lnTo>
                        <a:lnTo>
                          <a:pt x="536" y="885"/>
                        </a:lnTo>
                        <a:lnTo>
                          <a:pt x="562" y="873"/>
                        </a:lnTo>
                        <a:lnTo>
                          <a:pt x="602" y="873"/>
                        </a:lnTo>
                        <a:lnTo>
                          <a:pt x="693" y="873"/>
                        </a:lnTo>
                        <a:lnTo>
                          <a:pt x="706" y="860"/>
                        </a:lnTo>
                        <a:lnTo>
                          <a:pt x="719" y="860"/>
                        </a:lnTo>
                        <a:lnTo>
                          <a:pt x="732" y="873"/>
                        </a:lnTo>
                        <a:lnTo>
                          <a:pt x="771" y="860"/>
                        </a:lnTo>
                        <a:lnTo>
                          <a:pt x="811" y="848"/>
                        </a:lnTo>
                        <a:lnTo>
                          <a:pt x="850" y="800"/>
                        </a:lnTo>
                        <a:lnTo>
                          <a:pt x="889" y="703"/>
                        </a:lnTo>
                        <a:lnTo>
                          <a:pt x="941" y="642"/>
                        </a:lnTo>
                        <a:lnTo>
                          <a:pt x="994" y="582"/>
                        </a:lnTo>
                        <a:lnTo>
                          <a:pt x="1046" y="509"/>
                        </a:lnTo>
                        <a:lnTo>
                          <a:pt x="1046" y="436"/>
                        </a:lnTo>
                        <a:lnTo>
                          <a:pt x="1020" y="376"/>
                        </a:lnTo>
                        <a:lnTo>
                          <a:pt x="1033" y="339"/>
                        </a:lnTo>
                        <a:lnTo>
                          <a:pt x="1033" y="279"/>
                        </a:lnTo>
                        <a:lnTo>
                          <a:pt x="1033" y="230"/>
                        </a:lnTo>
                        <a:lnTo>
                          <a:pt x="1046" y="182"/>
                        </a:lnTo>
                        <a:lnTo>
                          <a:pt x="1072" y="133"/>
                        </a:lnTo>
                        <a:lnTo>
                          <a:pt x="1085" y="109"/>
                        </a:lnTo>
                        <a:lnTo>
                          <a:pt x="1098" y="73"/>
                        </a:lnTo>
                        <a:lnTo>
                          <a:pt x="1085" y="0"/>
                        </a:lnTo>
                      </a:path>
                    </a:pathLst>
                  </a:custGeom>
                  <a:gradFill rotWithShape="1">
                    <a:gsLst>
                      <a:gs pos="0">
                        <a:srgbClr val="A05900"/>
                      </a:gs>
                      <a:gs pos="50000">
                        <a:srgbClr val="E68300"/>
                      </a:gs>
                      <a:gs pos="100000">
                        <a:srgbClr val="FF9D00"/>
                      </a:gs>
                    </a:gsLst>
                    <a:lin ang="13500000" scaled="1"/>
                  </a:gradFill>
                  <a:ln w="12700" cap="rnd" cmpd="sng">
                    <a:solidFill>
                      <a:srgbClr val="A3F55D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629338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04" name="Freeform 102">
                    <a:extLst>
                      <a:ext uri="{FF2B5EF4-FFF2-40B4-BE49-F238E27FC236}">
                        <a16:creationId xmlns:a16="http://schemas.microsoft.com/office/drawing/2014/main" id="{D3603DD6-B650-49DD-ACBB-2027BCD7C2C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432695" y="3675211"/>
                    <a:ext cx="885825" cy="911225"/>
                  </a:xfrm>
                  <a:custGeom>
                    <a:avLst/>
                    <a:gdLst>
                      <a:gd name="T0" fmla="*/ 0 w 588"/>
                      <a:gd name="T1" fmla="*/ 716254 h 632"/>
                      <a:gd name="T2" fmla="*/ 156749 w 588"/>
                      <a:gd name="T3" fmla="*/ 769577 h 632"/>
                      <a:gd name="T4" fmla="*/ 156749 w 588"/>
                      <a:gd name="T5" fmla="*/ 838752 h 632"/>
                      <a:gd name="T6" fmla="*/ 236630 w 588"/>
                      <a:gd name="T7" fmla="*/ 909369 h 632"/>
                      <a:gd name="T8" fmla="*/ 373785 w 588"/>
                      <a:gd name="T9" fmla="*/ 856046 h 632"/>
                      <a:gd name="T10" fmla="*/ 471753 w 588"/>
                      <a:gd name="T11" fmla="*/ 769577 h 632"/>
                      <a:gd name="T12" fmla="*/ 569721 w 588"/>
                      <a:gd name="T13" fmla="*/ 750842 h 632"/>
                      <a:gd name="T14" fmla="*/ 648096 w 588"/>
                      <a:gd name="T15" fmla="*/ 733548 h 632"/>
                      <a:gd name="T16" fmla="*/ 708384 w 588"/>
                      <a:gd name="T17" fmla="*/ 664372 h 632"/>
                      <a:gd name="T18" fmla="*/ 747571 w 588"/>
                      <a:gd name="T19" fmla="*/ 612491 h 632"/>
                      <a:gd name="T20" fmla="*/ 786758 w 588"/>
                      <a:gd name="T21" fmla="*/ 507287 h 632"/>
                      <a:gd name="T22" fmla="*/ 767164 w 588"/>
                      <a:gd name="T23" fmla="*/ 436670 h 632"/>
                      <a:gd name="T24" fmla="*/ 747571 w 588"/>
                      <a:gd name="T25" fmla="*/ 402082 h 632"/>
                      <a:gd name="T26" fmla="*/ 786758 w 588"/>
                      <a:gd name="T27" fmla="*/ 384788 h 632"/>
                      <a:gd name="T28" fmla="*/ 825945 w 588"/>
                      <a:gd name="T29" fmla="*/ 332907 h 632"/>
                      <a:gd name="T30" fmla="*/ 865132 w 588"/>
                      <a:gd name="T31" fmla="*/ 332907 h 632"/>
                      <a:gd name="T32" fmla="*/ 884726 w 588"/>
                      <a:gd name="T33" fmla="*/ 296878 h 632"/>
                      <a:gd name="T34" fmla="*/ 884726 w 588"/>
                      <a:gd name="T35" fmla="*/ 262290 h 632"/>
                      <a:gd name="T36" fmla="*/ 884726 w 588"/>
                      <a:gd name="T37" fmla="*/ 244996 h 632"/>
                      <a:gd name="T38" fmla="*/ 865132 w 588"/>
                      <a:gd name="T39" fmla="*/ 193115 h 632"/>
                      <a:gd name="T40" fmla="*/ 865132 w 588"/>
                      <a:gd name="T41" fmla="*/ 139792 h 632"/>
                      <a:gd name="T42" fmla="*/ 865132 w 588"/>
                      <a:gd name="T43" fmla="*/ 105204 h 632"/>
                      <a:gd name="T44" fmla="*/ 865132 w 588"/>
                      <a:gd name="T45" fmla="*/ 70617 h 632"/>
                      <a:gd name="T46" fmla="*/ 825945 w 588"/>
                      <a:gd name="T47" fmla="*/ 87910 h 632"/>
                      <a:gd name="T48" fmla="*/ 786758 w 588"/>
                      <a:gd name="T49" fmla="*/ 87910 h 632"/>
                      <a:gd name="T50" fmla="*/ 727977 w 588"/>
                      <a:gd name="T51" fmla="*/ 105204 h 632"/>
                      <a:gd name="T52" fmla="*/ 608908 w 588"/>
                      <a:gd name="T53" fmla="*/ 70617 h 632"/>
                      <a:gd name="T54" fmla="*/ 530534 w 588"/>
                      <a:gd name="T55" fmla="*/ 139792 h 632"/>
                      <a:gd name="T56" fmla="*/ 491347 w 588"/>
                      <a:gd name="T57" fmla="*/ 157086 h 632"/>
                      <a:gd name="T58" fmla="*/ 453667 w 588"/>
                      <a:gd name="T59" fmla="*/ 174380 h 632"/>
                      <a:gd name="T60" fmla="*/ 412973 w 588"/>
                      <a:gd name="T61" fmla="*/ 122498 h 632"/>
                      <a:gd name="T62" fmla="*/ 373785 w 588"/>
                      <a:gd name="T63" fmla="*/ 105204 h 632"/>
                      <a:gd name="T64" fmla="*/ 354192 w 588"/>
                      <a:gd name="T65" fmla="*/ 87910 h 632"/>
                      <a:gd name="T66" fmla="*/ 334598 w 588"/>
                      <a:gd name="T67" fmla="*/ 53323 h 632"/>
                      <a:gd name="T68" fmla="*/ 275817 w 588"/>
                      <a:gd name="T69" fmla="*/ 0 h 632"/>
                      <a:gd name="T70" fmla="*/ 275817 w 588"/>
                      <a:gd name="T71" fmla="*/ 53323 h 632"/>
                      <a:gd name="T72" fmla="*/ 275817 w 588"/>
                      <a:gd name="T73" fmla="*/ 105204 h 632"/>
                      <a:gd name="T74" fmla="*/ 295411 w 588"/>
                      <a:gd name="T75" fmla="*/ 139792 h 632"/>
                      <a:gd name="T76" fmla="*/ 295411 w 588"/>
                      <a:gd name="T77" fmla="*/ 174380 h 632"/>
                      <a:gd name="T78" fmla="*/ 275817 w 588"/>
                      <a:gd name="T79" fmla="*/ 227703 h 632"/>
                      <a:gd name="T80" fmla="*/ 275817 w 588"/>
                      <a:gd name="T81" fmla="*/ 279584 h 632"/>
                      <a:gd name="T82" fmla="*/ 256224 w 588"/>
                      <a:gd name="T83" fmla="*/ 314172 h 632"/>
                      <a:gd name="T84" fmla="*/ 217037 w 588"/>
                      <a:gd name="T85" fmla="*/ 350201 h 632"/>
                      <a:gd name="T86" fmla="*/ 197443 w 588"/>
                      <a:gd name="T87" fmla="*/ 384788 h 632"/>
                      <a:gd name="T88" fmla="*/ 156749 w 588"/>
                      <a:gd name="T89" fmla="*/ 402082 h 632"/>
                      <a:gd name="T90" fmla="*/ 137155 w 588"/>
                      <a:gd name="T91" fmla="*/ 453964 h 632"/>
                      <a:gd name="T92" fmla="*/ 97968 w 588"/>
                      <a:gd name="T93" fmla="*/ 489993 h 632"/>
                      <a:gd name="T94" fmla="*/ 39187 w 588"/>
                      <a:gd name="T95" fmla="*/ 524580 h 632"/>
                      <a:gd name="T96" fmla="*/ 39187 w 588"/>
                      <a:gd name="T97" fmla="*/ 541874 h 632"/>
                      <a:gd name="T98" fmla="*/ 58781 w 588"/>
                      <a:gd name="T99" fmla="*/ 576462 h 632"/>
                      <a:gd name="T100" fmla="*/ 39187 w 588"/>
                      <a:gd name="T101" fmla="*/ 612491 h 632"/>
                      <a:gd name="T102" fmla="*/ 19594 w 588"/>
                      <a:gd name="T103" fmla="*/ 629785 h 632"/>
                      <a:gd name="T104" fmla="*/ 0 w 588"/>
                      <a:gd name="T105" fmla="*/ 716254 h 632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0" t="0" r="r" b="b"/>
                    <a:pathLst>
                      <a:path w="588" h="632">
                        <a:moveTo>
                          <a:pt x="0" y="497"/>
                        </a:moveTo>
                        <a:lnTo>
                          <a:pt x="104" y="534"/>
                        </a:lnTo>
                        <a:lnTo>
                          <a:pt x="104" y="582"/>
                        </a:lnTo>
                        <a:lnTo>
                          <a:pt x="157" y="631"/>
                        </a:lnTo>
                        <a:lnTo>
                          <a:pt x="248" y="594"/>
                        </a:lnTo>
                        <a:lnTo>
                          <a:pt x="313" y="534"/>
                        </a:lnTo>
                        <a:lnTo>
                          <a:pt x="378" y="521"/>
                        </a:lnTo>
                        <a:lnTo>
                          <a:pt x="430" y="509"/>
                        </a:lnTo>
                        <a:lnTo>
                          <a:pt x="470" y="461"/>
                        </a:lnTo>
                        <a:lnTo>
                          <a:pt x="496" y="425"/>
                        </a:lnTo>
                        <a:lnTo>
                          <a:pt x="522" y="352"/>
                        </a:lnTo>
                        <a:lnTo>
                          <a:pt x="509" y="303"/>
                        </a:lnTo>
                        <a:lnTo>
                          <a:pt x="496" y="279"/>
                        </a:lnTo>
                        <a:lnTo>
                          <a:pt x="522" y="267"/>
                        </a:lnTo>
                        <a:lnTo>
                          <a:pt x="548" y="231"/>
                        </a:lnTo>
                        <a:lnTo>
                          <a:pt x="574" y="231"/>
                        </a:lnTo>
                        <a:lnTo>
                          <a:pt x="587" y="206"/>
                        </a:lnTo>
                        <a:lnTo>
                          <a:pt x="587" y="182"/>
                        </a:lnTo>
                        <a:lnTo>
                          <a:pt x="587" y="170"/>
                        </a:lnTo>
                        <a:lnTo>
                          <a:pt x="574" y="134"/>
                        </a:lnTo>
                        <a:lnTo>
                          <a:pt x="574" y="97"/>
                        </a:lnTo>
                        <a:lnTo>
                          <a:pt x="574" y="73"/>
                        </a:lnTo>
                        <a:lnTo>
                          <a:pt x="574" y="49"/>
                        </a:lnTo>
                        <a:lnTo>
                          <a:pt x="548" y="61"/>
                        </a:lnTo>
                        <a:lnTo>
                          <a:pt x="522" y="61"/>
                        </a:lnTo>
                        <a:lnTo>
                          <a:pt x="483" y="73"/>
                        </a:lnTo>
                        <a:lnTo>
                          <a:pt x="404" y="49"/>
                        </a:lnTo>
                        <a:lnTo>
                          <a:pt x="352" y="97"/>
                        </a:lnTo>
                        <a:lnTo>
                          <a:pt x="326" y="109"/>
                        </a:lnTo>
                        <a:lnTo>
                          <a:pt x="301" y="121"/>
                        </a:lnTo>
                        <a:lnTo>
                          <a:pt x="274" y="85"/>
                        </a:lnTo>
                        <a:lnTo>
                          <a:pt x="248" y="73"/>
                        </a:lnTo>
                        <a:lnTo>
                          <a:pt x="235" y="61"/>
                        </a:lnTo>
                        <a:lnTo>
                          <a:pt x="222" y="37"/>
                        </a:lnTo>
                        <a:lnTo>
                          <a:pt x="183" y="0"/>
                        </a:lnTo>
                        <a:lnTo>
                          <a:pt x="183" y="37"/>
                        </a:lnTo>
                        <a:lnTo>
                          <a:pt x="183" y="73"/>
                        </a:lnTo>
                        <a:lnTo>
                          <a:pt x="196" y="97"/>
                        </a:lnTo>
                        <a:lnTo>
                          <a:pt x="196" y="121"/>
                        </a:lnTo>
                        <a:lnTo>
                          <a:pt x="183" y="158"/>
                        </a:lnTo>
                        <a:lnTo>
                          <a:pt x="183" y="194"/>
                        </a:lnTo>
                        <a:lnTo>
                          <a:pt x="170" y="218"/>
                        </a:lnTo>
                        <a:lnTo>
                          <a:pt x="144" y="243"/>
                        </a:lnTo>
                        <a:lnTo>
                          <a:pt x="131" y="267"/>
                        </a:lnTo>
                        <a:lnTo>
                          <a:pt x="104" y="279"/>
                        </a:lnTo>
                        <a:lnTo>
                          <a:pt x="91" y="315"/>
                        </a:lnTo>
                        <a:lnTo>
                          <a:pt x="65" y="340"/>
                        </a:lnTo>
                        <a:lnTo>
                          <a:pt x="26" y="364"/>
                        </a:lnTo>
                        <a:lnTo>
                          <a:pt x="26" y="376"/>
                        </a:lnTo>
                        <a:lnTo>
                          <a:pt x="39" y="400"/>
                        </a:lnTo>
                        <a:lnTo>
                          <a:pt x="26" y="425"/>
                        </a:lnTo>
                        <a:lnTo>
                          <a:pt x="13" y="437"/>
                        </a:lnTo>
                        <a:lnTo>
                          <a:pt x="0" y="497"/>
                        </a:lnTo>
                      </a:path>
                    </a:pathLst>
                  </a:custGeom>
                  <a:gradFill rotWithShape="1">
                    <a:gsLst>
                      <a:gs pos="0">
                        <a:srgbClr val="A05900"/>
                      </a:gs>
                      <a:gs pos="50000">
                        <a:srgbClr val="E68300"/>
                      </a:gs>
                      <a:gs pos="100000">
                        <a:srgbClr val="FF9D00"/>
                      </a:gs>
                    </a:gsLst>
                    <a:lin ang="13500000" scaled="1"/>
                  </a:gradFill>
                  <a:ln w="12700" cap="rnd" cmpd="sng">
                    <a:solidFill>
                      <a:srgbClr val="99CC00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5C7A0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05" name="Freeform 103">
                    <a:extLst>
                      <a:ext uri="{FF2B5EF4-FFF2-40B4-BE49-F238E27FC236}">
                        <a16:creationId xmlns:a16="http://schemas.microsoft.com/office/drawing/2014/main" id="{485BBDA9-20EE-4A6E-9955-6E92E55252D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6745" y="4389586"/>
                    <a:ext cx="931862" cy="857250"/>
                  </a:xfrm>
                  <a:custGeom>
                    <a:avLst/>
                    <a:gdLst>
                      <a:gd name="T0" fmla="*/ 78838 w 615"/>
                      <a:gd name="T1" fmla="*/ 70647 h 595"/>
                      <a:gd name="T2" fmla="*/ 78838 w 615"/>
                      <a:gd name="T3" fmla="*/ 139852 h 595"/>
                      <a:gd name="T4" fmla="*/ 19710 w 615"/>
                      <a:gd name="T5" fmla="*/ 210499 h 595"/>
                      <a:gd name="T6" fmla="*/ 0 w 615"/>
                      <a:gd name="T7" fmla="*/ 279704 h 595"/>
                      <a:gd name="T8" fmla="*/ 0 w 615"/>
                      <a:gd name="T9" fmla="*/ 333050 h 595"/>
                      <a:gd name="T10" fmla="*/ 0 w 615"/>
                      <a:gd name="T11" fmla="*/ 402255 h 595"/>
                      <a:gd name="T12" fmla="*/ 0 w 615"/>
                      <a:gd name="T13" fmla="*/ 472902 h 595"/>
                      <a:gd name="T14" fmla="*/ 59129 w 615"/>
                      <a:gd name="T15" fmla="*/ 507505 h 595"/>
                      <a:gd name="T16" fmla="*/ 59129 w 615"/>
                      <a:gd name="T17" fmla="*/ 594011 h 595"/>
                      <a:gd name="T18" fmla="*/ 78838 w 615"/>
                      <a:gd name="T19" fmla="*/ 681959 h 595"/>
                      <a:gd name="T20" fmla="*/ 118257 w 615"/>
                      <a:gd name="T21" fmla="*/ 699261 h 595"/>
                      <a:gd name="T22" fmla="*/ 137967 w 615"/>
                      <a:gd name="T23" fmla="*/ 681959 h 595"/>
                      <a:gd name="T24" fmla="*/ 177386 w 615"/>
                      <a:gd name="T25" fmla="*/ 664658 h 595"/>
                      <a:gd name="T26" fmla="*/ 257740 w 615"/>
                      <a:gd name="T27" fmla="*/ 664658 h 595"/>
                      <a:gd name="T28" fmla="*/ 316869 w 615"/>
                      <a:gd name="T29" fmla="*/ 664658 h 595"/>
                      <a:gd name="T30" fmla="*/ 336579 w 615"/>
                      <a:gd name="T31" fmla="*/ 733863 h 595"/>
                      <a:gd name="T32" fmla="*/ 356288 w 615"/>
                      <a:gd name="T33" fmla="*/ 769908 h 595"/>
                      <a:gd name="T34" fmla="*/ 356288 w 615"/>
                      <a:gd name="T35" fmla="*/ 804510 h 595"/>
                      <a:gd name="T36" fmla="*/ 395707 w 615"/>
                      <a:gd name="T37" fmla="*/ 821812 h 595"/>
                      <a:gd name="T38" fmla="*/ 454836 w 615"/>
                      <a:gd name="T39" fmla="*/ 839113 h 595"/>
                      <a:gd name="T40" fmla="*/ 494255 w 615"/>
                      <a:gd name="T41" fmla="*/ 856414 h 595"/>
                      <a:gd name="T42" fmla="*/ 554900 w 615"/>
                      <a:gd name="T43" fmla="*/ 804510 h 595"/>
                      <a:gd name="T44" fmla="*/ 574610 w 615"/>
                      <a:gd name="T45" fmla="*/ 751165 h 595"/>
                      <a:gd name="T46" fmla="*/ 574610 w 615"/>
                      <a:gd name="T47" fmla="*/ 733863 h 595"/>
                      <a:gd name="T48" fmla="*/ 614029 w 615"/>
                      <a:gd name="T49" fmla="*/ 699261 h 595"/>
                      <a:gd name="T50" fmla="*/ 692867 w 615"/>
                      <a:gd name="T51" fmla="*/ 664658 h 595"/>
                      <a:gd name="T52" fmla="*/ 712577 w 615"/>
                      <a:gd name="T53" fmla="*/ 594011 h 595"/>
                      <a:gd name="T54" fmla="*/ 771705 w 615"/>
                      <a:gd name="T55" fmla="*/ 559409 h 595"/>
                      <a:gd name="T56" fmla="*/ 812640 w 615"/>
                      <a:gd name="T57" fmla="*/ 507505 h 595"/>
                      <a:gd name="T58" fmla="*/ 891479 w 615"/>
                      <a:gd name="T59" fmla="*/ 436858 h 595"/>
                      <a:gd name="T60" fmla="*/ 891479 w 615"/>
                      <a:gd name="T61" fmla="*/ 333050 h 595"/>
                      <a:gd name="T62" fmla="*/ 852060 w 615"/>
                      <a:gd name="T63" fmla="*/ 297006 h 595"/>
                      <a:gd name="T64" fmla="*/ 871769 w 615"/>
                      <a:gd name="T65" fmla="*/ 297006 h 595"/>
                      <a:gd name="T66" fmla="*/ 871769 w 615"/>
                      <a:gd name="T67" fmla="*/ 279704 h 595"/>
                      <a:gd name="T68" fmla="*/ 911188 w 615"/>
                      <a:gd name="T69" fmla="*/ 262403 h 595"/>
                      <a:gd name="T70" fmla="*/ 930898 w 615"/>
                      <a:gd name="T71" fmla="*/ 227800 h 595"/>
                      <a:gd name="T72" fmla="*/ 871769 w 615"/>
                      <a:gd name="T73" fmla="*/ 193198 h 595"/>
                      <a:gd name="T74" fmla="*/ 852060 w 615"/>
                      <a:gd name="T75" fmla="*/ 174455 h 595"/>
                      <a:gd name="T76" fmla="*/ 812640 w 615"/>
                      <a:gd name="T77" fmla="*/ 157153 h 595"/>
                      <a:gd name="T78" fmla="*/ 812640 w 615"/>
                      <a:gd name="T79" fmla="*/ 70647 h 595"/>
                      <a:gd name="T80" fmla="*/ 771705 w 615"/>
                      <a:gd name="T81" fmla="*/ 17301 h 595"/>
                      <a:gd name="T82" fmla="*/ 732286 w 615"/>
                      <a:gd name="T83" fmla="*/ 0 h 595"/>
                      <a:gd name="T84" fmla="*/ 653448 w 615"/>
                      <a:gd name="T85" fmla="*/ 0 h 595"/>
                      <a:gd name="T86" fmla="*/ 633738 w 615"/>
                      <a:gd name="T87" fmla="*/ 0 h 595"/>
                      <a:gd name="T88" fmla="*/ 594319 w 615"/>
                      <a:gd name="T89" fmla="*/ 0 h 595"/>
                      <a:gd name="T90" fmla="*/ 535190 w 615"/>
                      <a:gd name="T91" fmla="*/ 17301 h 595"/>
                      <a:gd name="T92" fmla="*/ 513965 w 615"/>
                      <a:gd name="T93" fmla="*/ 17301 h 595"/>
                      <a:gd name="T94" fmla="*/ 494255 w 615"/>
                      <a:gd name="T95" fmla="*/ 34603 h 595"/>
                      <a:gd name="T96" fmla="*/ 454836 w 615"/>
                      <a:gd name="T97" fmla="*/ 34603 h 595"/>
                      <a:gd name="T98" fmla="*/ 435127 w 615"/>
                      <a:gd name="T99" fmla="*/ 17301 h 595"/>
                      <a:gd name="T100" fmla="*/ 395707 w 615"/>
                      <a:gd name="T101" fmla="*/ 53346 h 595"/>
                      <a:gd name="T102" fmla="*/ 375998 w 615"/>
                      <a:gd name="T103" fmla="*/ 53346 h 595"/>
                      <a:gd name="T104" fmla="*/ 297160 w 615"/>
                      <a:gd name="T105" fmla="*/ 34603 h 595"/>
                      <a:gd name="T106" fmla="*/ 236515 w 615"/>
                      <a:gd name="T107" fmla="*/ 34603 h 595"/>
                      <a:gd name="T108" fmla="*/ 177386 w 615"/>
                      <a:gd name="T109" fmla="*/ 34603 h 595"/>
                      <a:gd name="T110" fmla="*/ 78838 w 615"/>
                      <a:gd name="T111" fmla="*/ 70647 h 595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</a:gdLst>
                    <a:ahLst/>
                    <a:cxnLst>
                      <a:cxn ang="T112">
                        <a:pos x="T0" y="T1"/>
                      </a:cxn>
                      <a:cxn ang="T113">
                        <a:pos x="T2" y="T3"/>
                      </a:cxn>
                      <a:cxn ang="T114">
                        <a:pos x="T4" y="T5"/>
                      </a:cxn>
                      <a:cxn ang="T115">
                        <a:pos x="T6" y="T7"/>
                      </a:cxn>
                      <a:cxn ang="T116">
                        <a:pos x="T8" y="T9"/>
                      </a:cxn>
                      <a:cxn ang="T117">
                        <a:pos x="T10" y="T11"/>
                      </a:cxn>
                      <a:cxn ang="T118">
                        <a:pos x="T12" y="T13"/>
                      </a:cxn>
                      <a:cxn ang="T119">
                        <a:pos x="T14" y="T15"/>
                      </a:cxn>
                      <a:cxn ang="T120">
                        <a:pos x="T16" y="T17"/>
                      </a:cxn>
                      <a:cxn ang="T121">
                        <a:pos x="T18" y="T19"/>
                      </a:cxn>
                      <a:cxn ang="T122">
                        <a:pos x="T20" y="T21"/>
                      </a:cxn>
                      <a:cxn ang="T123">
                        <a:pos x="T22" y="T23"/>
                      </a:cxn>
                      <a:cxn ang="T124">
                        <a:pos x="T24" y="T25"/>
                      </a:cxn>
                      <a:cxn ang="T125">
                        <a:pos x="T26" y="T27"/>
                      </a:cxn>
                      <a:cxn ang="T126">
                        <a:pos x="T28" y="T29"/>
                      </a:cxn>
                      <a:cxn ang="T127">
                        <a:pos x="T30" y="T31"/>
                      </a:cxn>
                      <a:cxn ang="T128">
                        <a:pos x="T32" y="T33"/>
                      </a:cxn>
                      <a:cxn ang="T129">
                        <a:pos x="T34" y="T35"/>
                      </a:cxn>
                      <a:cxn ang="T130">
                        <a:pos x="T36" y="T37"/>
                      </a:cxn>
                      <a:cxn ang="T131">
                        <a:pos x="T38" y="T39"/>
                      </a:cxn>
                      <a:cxn ang="T132">
                        <a:pos x="T40" y="T41"/>
                      </a:cxn>
                      <a:cxn ang="T133">
                        <a:pos x="T42" y="T43"/>
                      </a:cxn>
                      <a:cxn ang="T134">
                        <a:pos x="T44" y="T45"/>
                      </a:cxn>
                      <a:cxn ang="T135">
                        <a:pos x="T46" y="T47"/>
                      </a:cxn>
                      <a:cxn ang="T136">
                        <a:pos x="T48" y="T49"/>
                      </a:cxn>
                      <a:cxn ang="T137">
                        <a:pos x="T50" y="T51"/>
                      </a:cxn>
                      <a:cxn ang="T138">
                        <a:pos x="T52" y="T53"/>
                      </a:cxn>
                      <a:cxn ang="T139">
                        <a:pos x="T54" y="T55"/>
                      </a:cxn>
                      <a:cxn ang="T140">
                        <a:pos x="T56" y="T57"/>
                      </a:cxn>
                      <a:cxn ang="T141">
                        <a:pos x="T58" y="T59"/>
                      </a:cxn>
                      <a:cxn ang="T142">
                        <a:pos x="T60" y="T61"/>
                      </a:cxn>
                      <a:cxn ang="T143">
                        <a:pos x="T62" y="T63"/>
                      </a:cxn>
                      <a:cxn ang="T144">
                        <a:pos x="T64" y="T65"/>
                      </a:cxn>
                      <a:cxn ang="T145">
                        <a:pos x="T66" y="T67"/>
                      </a:cxn>
                      <a:cxn ang="T146">
                        <a:pos x="T68" y="T69"/>
                      </a:cxn>
                      <a:cxn ang="T147">
                        <a:pos x="T70" y="T71"/>
                      </a:cxn>
                      <a:cxn ang="T148">
                        <a:pos x="T72" y="T73"/>
                      </a:cxn>
                      <a:cxn ang="T149">
                        <a:pos x="T74" y="T75"/>
                      </a:cxn>
                      <a:cxn ang="T150">
                        <a:pos x="T76" y="T77"/>
                      </a:cxn>
                      <a:cxn ang="T151">
                        <a:pos x="T78" y="T79"/>
                      </a:cxn>
                      <a:cxn ang="T152">
                        <a:pos x="T80" y="T81"/>
                      </a:cxn>
                      <a:cxn ang="T153">
                        <a:pos x="T82" y="T83"/>
                      </a:cxn>
                      <a:cxn ang="T154">
                        <a:pos x="T84" y="T85"/>
                      </a:cxn>
                      <a:cxn ang="T155">
                        <a:pos x="T86" y="T87"/>
                      </a:cxn>
                      <a:cxn ang="T156">
                        <a:pos x="T88" y="T89"/>
                      </a:cxn>
                      <a:cxn ang="T157">
                        <a:pos x="T90" y="T91"/>
                      </a:cxn>
                      <a:cxn ang="T158">
                        <a:pos x="T92" y="T93"/>
                      </a:cxn>
                      <a:cxn ang="T159">
                        <a:pos x="T94" y="T95"/>
                      </a:cxn>
                      <a:cxn ang="T160">
                        <a:pos x="T96" y="T97"/>
                      </a:cxn>
                      <a:cxn ang="T161">
                        <a:pos x="T98" y="T99"/>
                      </a:cxn>
                      <a:cxn ang="T162">
                        <a:pos x="T100" y="T101"/>
                      </a:cxn>
                      <a:cxn ang="T163">
                        <a:pos x="T102" y="T103"/>
                      </a:cxn>
                      <a:cxn ang="T164">
                        <a:pos x="T104" y="T105"/>
                      </a:cxn>
                      <a:cxn ang="T165">
                        <a:pos x="T106" y="T107"/>
                      </a:cxn>
                      <a:cxn ang="T166">
                        <a:pos x="T108" y="T109"/>
                      </a:cxn>
                      <a:cxn ang="T167">
                        <a:pos x="T110" y="T111"/>
                      </a:cxn>
                    </a:cxnLst>
                    <a:rect l="0" t="0" r="r" b="b"/>
                    <a:pathLst>
                      <a:path w="615" h="595">
                        <a:moveTo>
                          <a:pt x="52" y="49"/>
                        </a:moveTo>
                        <a:lnTo>
                          <a:pt x="52" y="97"/>
                        </a:lnTo>
                        <a:lnTo>
                          <a:pt x="13" y="146"/>
                        </a:lnTo>
                        <a:lnTo>
                          <a:pt x="0" y="194"/>
                        </a:lnTo>
                        <a:lnTo>
                          <a:pt x="0" y="231"/>
                        </a:lnTo>
                        <a:lnTo>
                          <a:pt x="0" y="279"/>
                        </a:lnTo>
                        <a:lnTo>
                          <a:pt x="0" y="328"/>
                        </a:lnTo>
                        <a:lnTo>
                          <a:pt x="39" y="352"/>
                        </a:lnTo>
                        <a:lnTo>
                          <a:pt x="39" y="412"/>
                        </a:lnTo>
                        <a:lnTo>
                          <a:pt x="52" y="473"/>
                        </a:lnTo>
                        <a:lnTo>
                          <a:pt x="78" y="485"/>
                        </a:lnTo>
                        <a:lnTo>
                          <a:pt x="91" y="473"/>
                        </a:lnTo>
                        <a:lnTo>
                          <a:pt x="117" y="461"/>
                        </a:lnTo>
                        <a:lnTo>
                          <a:pt x="170" y="461"/>
                        </a:lnTo>
                        <a:lnTo>
                          <a:pt x="209" y="461"/>
                        </a:lnTo>
                        <a:lnTo>
                          <a:pt x="222" y="509"/>
                        </a:lnTo>
                        <a:lnTo>
                          <a:pt x="235" y="534"/>
                        </a:lnTo>
                        <a:lnTo>
                          <a:pt x="235" y="558"/>
                        </a:lnTo>
                        <a:lnTo>
                          <a:pt x="261" y="570"/>
                        </a:lnTo>
                        <a:lnTo>
                          <a:pt x="300" y="582"/>
                        </a:lnTo>
                        <a:lnTo>
                          <a:pt x="326" y="594"/>
                        </a:lnTo>
                        <a:lnTo>
                          <a:pt x="366" y="558"/>
                        </a:lnTo>
                        <a:lnTo>
                          <a:pt x="379" y="521"/>
                        </a:lnTo>
                        <a:lnTo>
                          <a:pt x="379" y="509"/>
                        </a:lnTo>
                        <a:lnTo>
                          <a:pt x="405" y="485"/>
                        </a:lnTo>
                        <a:lnTo>
                          <a:pt x="457" y="461"/>
                        </a:lnTo>
                        <a:lnTo>
                          <a:pt x="470" y="412"/>
                        </a:lnTo>
                        <a:lnTo>
                          <a:pt x="509" y="388"/>
                        </a:lnTo>
                        <a:lnTo>
                          <a:pt x="536" y="352"/>
                        </a:lnTo>
                        <a:lnTo>
                          <a:pt x="588" y="303"/>
                        </a:lnTo>
                        <a:lnTo>
                          <a:pt x="588" y="231"/>
                        </a:lnTo>
                        <a:lnTo>
                          <a:pt x="562" y="206"/>
                        </a:lnTo>
                        <a:lnTo>
                          <a:pt x="575" y="206"/>
                        </a:lnTo>
                        <a:lnTo>
                          <a:pt x="575" y="194"/>
                        </a:lnTo>
                        <a:lnTo>
                          <a:pt x="601" y="182"/>
                        </a:lnTo>
                        <a:lnTo>
                          <a:pt x="614" y="158"/>
                        </a:lnTo>
                        <a:lnTo>
                          <a:pt x="575" y="134"/>
                        </a:lnTo>
                        <a:lnTo>
                          <a:pt x="562" y="121"/>
                        </a:lnTo>
                        <a:lnTo>
                          <a:pt x="536" y="109"/>
                        </a:lnTo>
                        <a:lnTo>
                          <a:pt x="536" y="49"/>
                        </a:lnTo>
                        <a:lnTo>
                          <a:pt x="509" y="12"/>
                        </a:lnTo>
                        <a:lnTo>
                          <a:pt x="483" y="0"/>
                        </a:lnTo>
                        <a:lnTo>
                          <a:pt x="431" y="0"/>
                        </a:lnTo>
                        <a:lnTo>
                          <a:pt x="418" y="0"/>
                        </a:lnTo>
                        <a:lnTo>
                          <a:pt x="392" y="0"/>
                        </a:lnTo>
                        <a:lnTo>
                          <a:pt x="353" y="12"/>
                        </a:lnTo>
                        <a:lnTo>
                          <a:pt x="339" y="12"/>
                        </a:lnTo>
                        <a:lnTo>
                          <a:pt x="326" y="24"/>
                        </a:lnTo>
                        <a:lnTo>
                          <a:pt x="300" y="24"/>
                        </a:lnTo>
                        <a:lnTo>
                          <a:pt x="287" y="12"/>
                        </a:lnTo>
                        <a:lnTo>
                          <a:pt x="261" y="37"/>
                        </a:lnTo>
                        <a:lnTo>
                          <a:pt x="248" y="37"/>
                        </a:lnTo>
                        <a:lnTo>
                          <a:pt x="196" y="24"/>
                        </a:lnTo>
                        <a:lnTo>
                          <a:pt x="156" y="24"/>
                        </a:lnTo>
                        <a:lnTo>
                          <a:pt x="117" y="24"/>
                        </a:lnTo>
                        <a:lnTo>
                          <a:pt x="52" y="49"/>
                        </a:lnTo>
                      </a:path>
                    </a:pathLst>
                  </a:custGeom>
                  <a:gradFill rotWithShape="1">
                    <a:gsLst>
                      <a:gs pos="0">
                        <a:srgbClr val="A05900"/>
                      </a:gs>
                      <a:gs pos="50000">
                        <a:srgbClr val="E68300"/>
                      </a:gs>
                      <a:gs pos="100000">
                        <a:srgbClr val="FF9D00"/>
                      </a:gs>
                    </a:gsLst>
                    <a:lin ang="13500000" scaled="1"/>
                  </a:gradFill>
                  <a:ln w="3175" cap="rnd" cmpd="sng">
                    <a:solidFill>
                      <a:srgbClr val="6BF939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40952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06" name="Freeform 104">
                    <a:extLst>
                      <a:ext uri="{FF2B5EF4-FFF2-40B4-BE49-F238E27FC236}">
                        <a16:creationId xmlns:a16="http://schemas.microsoft.com/office/drawing/2014/main" id="{B8617F41-534F-447C-A8EA-3CAA07725E5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09057" y="4253061"/>
                    <a:ext cx="377825" cy="576263"/>
                  </a:xfrm>
                  <a:custGeom>
                    <a:avLst/>
                    <a:gdLst>
                      <a:gd name="T0" fmla="*/ 376730 w 250"/>
                      <a:gd name="T1" fmla="*/ 122124 h 401"/>
                      <a:gd name="T2" fmla="*/ 376730 w 250"/>
                      <a:gd name="T3" fmla="*/ 244249 h 401"/>
                      <a:gd name="T4" fmla="*/ 316211 w 250"/>
                      <a:gd name="T5" fmla="*/ 295972 h 401"/>
                      <a:gd name="T6" fmla="*/ 296543 w 250"/>
                      <a:gd name="T7" fmla="*/ 366373 h 401"/>
                      <a:gd name="T8" fmla="*/ 257205 w 250"/>
                      <a:gd name="T9" fmla="*/ 452579 h 401"/>
                      <a:gd name="T10" fmla="*/ 217868 w 250"/>
                      <a:gd name="T11" fmla="*/ 505739 h 401"/>
                      <a:gd name="T12" fmla="*/ 178531 w 250"/>
                      <a:gd name="T13" fmla="*/ 574703 h 401"/>
                      <a:gd name="T14" fmla="*/ 158862 w 250"/>
                      <a:gd name="T15" fmla="*/ 557462 h 401"/>
                      <a:gd name="T16" fmla="*/ 99856 w 250"/>
                      <a:gd name="T17" fmla="*/ 522980 h 401"/>
                      <a:gd name="T18" fmla="*/ 39337 w 250"/>
                      <a:gd name="T19" fmla="*/ 488498 h 401"/>
                      <a:gd name="T20" fmla="*/ 0 w 250"/>
                      <a:gd name="T21" fmla="*/ 452579 h 401"/>
                      <a:gd name="T22" fmla="*/ 19669 w 250"/>
                      <a:gd name="T23" fmla="*/ 400856 h 401"/>
                      <a:gd name="T24" fmla="*/ 59006 w 250"/>
                      <a:gd name="T25" fmla="*/ 349132 h 401"/>
                      <a:gd name="T26" fmla="*/ 78675 w 250"/>
                      <a:gd name="T27" fmla="*/ 278731 h 401"/>
                      <a:gd name="T28" fmla="*/ 119525 w 250"/>
                      <a:gd name="T29" fmla="*/ 261490 h 401"/>
                      <a:gd name="T30" fmla="*/ 139193 w 250"/>
                      <a:gd name="T31" fmla="*/ 209767 h 401"/>
                      <a:gd name="T32" fmla="*/ 158862 w 250"/>
                      <a:gd name="T33" fmla="*/ 156607 h 401"/>
                      <a:gd name="T34" fmla="*/ 178531 w 250"/>
                      <a:gd name="T35" fmla="*/ 104883 h 401"/>
                      <a:gd name="T36" fmla="*/ 158862 w 250"/>
                      <a:gd name="T37" fmla="*/ 70401 h 401"/>
                      <a:gd name="T38" fmla="*/ 178531 w 250"/>
                      <a:gd name="T39" fmla="*/ 0 h 401"/>
                      <a:gd name="T40" fmla="*/ 257205 w 250"/>
                      <a:gd name="T41" fmla="*/ 70401 h 401"/>
                      <a:gd name="T42" fmla="*/ 276874 w 250"/>
                      <a:gd name="T43" fmla="*/ 87642 h 401"/>
                      <a:gd name="T44" fmla="*/ 335880 w 250"/>
                      <a:gd name="T45" fmla="*/ 87642 h 401"/>
                      <a:gd name="T46" fmla="*/ 376730 w 250"/>
                      <a:gd name="T47" fmla="*/ 122124 h 401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0" t="0" r="r" b="b"/>
                    <a:pathLst>
                      <a:path w="250" h="401">
                        <a:moveTo>
                          <a:pt x="249" y="85"/>
                        </a:moveTo>
                        <a:lnTo>
                          <a:pt x="249" y="170"/>
                        </a:lnTo>
                        <a:lnTo>
                          <a:pt x="209" y="206"/>
                        </a:lnTo>
                        <a:lnTo>
                          <a:pt x="196" y="255"/>
                        </a:lnTo>
                        <a:lnTo>
                          <a:pt x="170" y="315"/>
                        </a:lnTo>
                        <a:lnTo>
                          <a:pt x="144" y="352"/>
                        </a:lnTo>
                        <a:lnTo>
                          <a:pt x="118" y="400"/>
                        </a:lnTo>
                        <a:lnTo>
                          <a:pt x="105" y="388"/>
                        </a:lnTo>
                        <a:lnTo>
                          <a:pt x="66" y="364"/>
                        </a:lnTo>
                        <a:lnTo>
                          <a:pt x="26" y="340"/>
                        </a:lnTo>
                        <a:lnTo>
                          <a:pt x="0" y="315"/>
                        </a:lnTo>
                        <a:lnTo>
                          <a:pt x="13" y="279"/>
                        </a:lnTo>
                        <a:lnTo>
                          <a:pt x="39" y="243"/>
                        </a:lnTo>
                        <a:lnTo>
                          <a:pt x="52" y="194"/>
                        </a:lnTo>
                        <a:lnTo>
                          <a:pt x="79" y="182"/>
                        </a:lnTo>
                        <a:lnTo>
                          <a:pt x="92" y="146"/>
                        </a:lnTo>
                        <a:lnTo>
                          <a:pt x="105" y="109"/>
                        </a:lnTo>
                        <a:lnTo>
                          <a:pt x="118" y="73"/>
                        </a:lnTo>
                        <a:lnTo>
                          <a:pt x="105" y="49"/>
                        </a:lnTo>
                        <a:lnTo>
                          <a:pt x="118" y="0"/>
                        </a:lnTo>
                        <a:lnTo>
                          <a:pt x="170" y="49"/>
                        </a:lnTo>
                        <a:lnTo>
                          <a:pt x="183" y="61"/>
                        </a:lnTo>
                        <a:lnTo>
                          <a:pt x="222" y="61"/>
                        </a:lnTo>
                        <a:lnTo>
                          <a:pt x="249" y="85"/>
                        </a:lnTo>
                      </a:path>
                    </a:pathLst>
                  </a:custGeom>
                  <a:gradFill rotWithShape="1">
                    <a:gsLst>
                      <a:gs pos="0">
                        <a:srgbClr val="65000A"/>
                      </a:gs>
                      <a:gs pos="50000">
                        <a:srgbClr val="940013"/>
                      </a:gs>
                      <a:gs pos="100000">
                        <a:srgbClr val="B1001A"/>
                      </a:gs>
                    </a:gsLst>
                    <a:lin ang="16200000" scaled="1"/>
                  </a:gradFill>
                  <a:ln w="12700" cap="rnd" cmpd="sng">
                    <a:solidFill>
                      <a:srgbClr val="A3F55D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629338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grpSp>
                <p:nvGrpSpPr>
                  <p:cNvPr id="107" name="Group 105">
                    <a:extLst>
                      <a:ext uri="{FF2B5EF4-FFF2-40B4-BE49-F238E27FC236}">
                        <a16:creationId xmlns:a16="http://schemas.microsoft.com/office/drawing/2014/main" id="{6FA51BC4-1280-4506-A21C-9587D1B3508C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>
                    <a:off x="4491432" y="4668986"/>
                    <a:ext cx="1066800" cy="698500"/>
                    <a:chOff x="3273" y="2830"/>
                    <a:chExt cx="706" cy="486"/>
                  </a:xfrm>
                </p:grpSpPr>
                <p:sp>
                  <p:nvSpPr>
                    <p:cNvPr id="130" name="Freeform 106">
                      <a:extLst>
                        <a:ext uri="{FF2B5EF4-FFF2-40B4-BE49-F238E27FC236}">
                          <a16:creationId xmlns:a16="http://schemas.microsoft.com/office/drawing/2014/main" id="{ABF9FE2E-51AB-4EBA-AC4B-CF7BEFE2DE15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3509" y="2830"/>
                      <a:ext cx="234" cy="444"/>
                    </a:xfrm>
                    <a:custGeom>
                      <a:avLst/>
                      <a:gdLst>
                        <a:gd name="T0" fmla="*/ 705 w 706"/>
                        <a:gd name="T1" fmla="*/ 291 h 486"/>
                        <a:gd name="T2" fmla="*/ 679 w 706"/>
                        <a:gd name="T3" fmla="*/ 267 h 486"/>
                        <a:gd name="T4" fmla="*/ 679 w 706"/>
                        <a:gd name="T5" fmla="*/ 242 h 486"/>
                        <a:gd name="T6" fmla="*/ 666 w 706"/>
                        <a:gd name="T7" fmla="*/ 230 h 486"/>
                        <a:gd name="T8" fmla="*/ 601 w 706"/>
                        <a:gd name="T9" fmla="*/ 230 h 486"/>
                        <a:gd name="T10" fmla="*/ 522 w 706"/>
                        <a:gd name="T11" fmla="*/ 230 h 486"/>
                        <a:gd name="T12" fmla="*/ 496 w 706"/>
                        <a:gd name="T13" fmla="*/ 206 h 486"/>
                        <a:gd name="T14" fmla="*/ 470 w 706"/>
                        <a:gd name="T15" fmla="*/ 170 h 486"/>
                        <a:gd name="T16" fmla="*/ 457 w 706"/>
                        <a:gd name="T17" fmla="*/ 145 h 486"/>
                        <a:gd name="T18" fmla="*/ 405 w 706"/>
                        <a:gd name="T19" fmla="*/ 97 h 486"/>
                        <a:gd name="T20" fmla="*/ 352 w 706"/>
                        <a:gd name="T21" fmla="*/ 61 h 486"/>
                        <a:gd name="T22" fmla="*/ 314 w 706"/>
                        <a:gd name="T23" fmla="*/ 48 h 486"/>
                        <a:gd name="T24" fmla="*/ 262 w 706"/>
                        <a:gd name="T25" fmla="*/ 24 h 486"/>
                        <a:gd name="T26" fmla="*/ 209 w 706"/>
                        <a:gd name="T27" fmla="*/ 0 h 486"/>
                        <a:gd name="T28" fmla="*/ 157 w 706"/>
                        <a:gd name="T29" fmla="*/ 12 h 486"/>
                        <a:gd name="T30" fmla="*/ 92 w 706"/>
                        <a:gd name="T31" fmla="*/ 36 h 486"/>
                        <a:gd name="T32" fmla="*/ 105 w 706"/>
                        <a:gd name="T33" fmla="*/ 61 h 486"/>
                        <a:gd name="T34" fmla="*/ 105 w 706"/>
                        <a:gd name="T35" fmla="*/ 97 h 486"/>
                        <a:gd name="T36" fmla="*/ 105 w 706"/>
                        <a:gd name="T37" fmla="*/ 109 h 486"/>
                        <a:gd name="T38" fmla="*/ 92 w 706"/>
                        <a:gd name="T39" fmla="*/ 145 h 486"/>
                        <a:gd name="T40" fmla="*/ 66 w 706"/>
                        <a:gd name="T41" fmla="*/ 170 h 486"/>
                        <a:gd name="T42" fmla="*/ 52 w 706"/>
                        <a:gd name="T43" fmla="*/ 194 h 486"/>
                        <a:gd name="T44" fmla="*/ 26 w 706"/>
                        <a:gd name="T45" fmla="*/ 218 h 486"/>
                        <a:gd name="T46" fmla="*/ 13 w 706"/>
                        <a:gd name="T47" fmla="*/ 230 h 486"/>
                        <a:gd name="T48" fmla="*/ 0 w 706"/>
                        <a:gd name="T49" fmla="*/ 254 h 486"/>
                        <a:gd name="T50" fmla="*/ 0 w 706"/>
                        <a:gd name="T51" fmla="*/ 267 h 486"/>
                        <a:gd name="T52" fmla="*/ 13 w 706"/>
                        <a:gd name="T53" fmla="*/ 267 h 486"/>
                        <a:gd name="T54" fmla="*/ 39 w 706"/>
                        <a:gd name="T55" fmla="*/ 267 h 486"/>
                        <a:gd name="T56" fmla="*/ 52 w 706"/>
                        <a:gd name="T57" fmla="*/ 267 h 486"/>
                        <a:gd name="T58" fmla="*/ 118 w 706"/>
                        <a:gd name="T59" fmla="*/ 267 h 486"/>
                        <a:gd name="T60" fmla="*/ 183 w 706"/>
                        <a:gd name="T61" fmla="*/ 291 h 486"/>
                        <a:gd name="T62" fmla="*/ 209 w 706"/>
                        <a:gd name="T63" fmla="*/ 291 h 486"/>
                        <a:gd name="T64" fmla="*/ 236 w 706"/>
                        <a:gd name="T65" fmla="*/ 339 h 486"/>
                        <a:gd name="T66" fmla="*/ 236 w 706"/>
                        <a:gd name="T67" fmla="*/ 376 h 486"/>
                        <a:gd name="T68" fmla="*/ 262 w 706"/>
                        <a:gd name="T69" fmla="*/ 412 h 486"/>
                        <a:gd name="T70" fmla="*/ 288 w 706"/>
                        <a:gd name="T71" fmla="*/ 448 h 486"/>
                        <a:gd name="T72" fmla="*/ 327 w 706"/>
                        <a:gd name="T73" fmla="*/ 473 h 486"/>
                        <a:gd name="T74" fmla="*/ 405 w 706"/>
                        <a:gd name="T75" fmla="*/ 485 h 486"/>
                        <a:gd name="T76" fmla="*/ 418 w 706"/>
                        <a:gd name="T77" fmla="*/ 473 h 486"/>
                        <a:gd name="T78" fmla="*/ 444 w 706"/>
                        <a:gd name="T79" fmla="*/ 448 h 486"/>
                        <a:gd name="T80" fmla="*/ 470 w 706"/>
                        <a:gd name="T81" fmla="*/ 424 h 486"/>
                        <a:gd name="T82" fmla="*/ 509 w 706"/>
                        <a:gd name="T83" fmla="*/ 412 h 486"/>
                        <a:gd name="T84" fmla="*/ 535 w 706"/>
                        <a:gd name="T85" fmla="*/ 388 h 486"/>
                        <a:gd name="T86" fmla="*/ 575 w 706"/>
                        <a:gd name="T87" fmla="*/ 351 h 486"/>
                        <a:gd name="T88" fmla="*/ 601 w 706"/>
                        <a:gd name="T89" fmla="*/ 351 h 486"/>
                        <a:gd name="T90" fmla="*/ 627 w 706"/>
                        <a:gd name="T91" fmla="*/ 364 h 486"/>
                        <a:gd name="T92" fmla="*/ 653 w 706"/>
                        <a:gd name="T93" fmla="*/ 339 h 486"/>
                        <a:gd name="T94" fmla="*/ 705 w 706"/>
                        <a:gd name="T95" fmla="*/ 291 h 48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</a:gdLst>
                      <a:ahLst/>
                      <a:cxnLst>
                        <a:cxn ang="T96">
                          <a:pos x="T0" y="T1"/>
                        </a:cxn>
                        <a:cxn ang="T97">
                          <a:pos x="T2" y="T3"/>
                        </a:cxn>
                        <a:cxn ang="T98">
                          <a:pos x="T4" y="T5"/>
                        </a:cxn>
                        <a:cxn ang="T99">
                          <a:pos x="T6" y="T7"/>
                        </a:cxn>
                        <a:cxn ang="T100">
                          <a:pos x="T8" y="T9"/>
                        </a:cxn>
                        <a:cxn ang="T101">
                          <a:pos x="T10" y="T11"/>
                        </a:cxn>
                        <a:cxn ang="T102">
                          <a:pos x="T12" y="T13"/>
                        </a:cxn>
                        <a:cxn ang="T103">
                          <a:pos x="T14" y="T15"/>
                        </a:cxn>
                        <a:cxn ang="T104">
                          <a:pos x="T16" y="T17"/>
                        </a:cxn>
                        <a:cxn ang="T105">
                          <a:pos x="T18" y="T19"/>
                        </a:cxn>
                        <a:cxn ang="T106">
                          <a:pos x="T20" y="T21"/>
                        </a:cxn>
                        <a:cxn ang="T107">
                          <a:pos x="T22" y="T23"/>
                        </a:cxn>
                        <a:cxn ang="T108">
                          <a:pos x="T24" y="T25"/>
                        </a:cxn>
                        <a:cxn ang="T109">
                          <a:pos x="T26" y="T27"/>
                        </a:cxn>
                        <a:cxn ang="T110">
                          <a:pos x="T28" y="T29"/>
                        </a:cxn>
                        <a:cxn ang="T111">
                          <a:pos x="T30" y="T31"/>
                        </a:cxn>
                        <a:cxn ang="T112">
                          <a:pos x="T32" y="T33"/>
                        </a:cxn>
                        <a:cxn ang="T113">
                          <a:pos x="T34" y="T35"/>
                        </a:cxn>
                        <a:cxn ang="T114">
                          <a:pos x="T36" y="T37"/>
                        </a:cxn>
                        <a:cxn ang="T115">
                          <a:pos x="T38" y="T39"/>
                        </a:cxn>
                        <a:cxn ang="T116">
                          <a:pos x="T40" y="T41"/>
                        </a:cxn>
                        <a:cxn ang="T117">
                          <a:pos x="T42" y="T43"/>
                        </a:cxn>
                        <a:cxn ang="T118">
                          <a:pos x="T44" y="T45"/>
                        </a:cxn>
                        <a:cxn ang="T119">
                          <a:pos x="T46" y="T47"/>
                        </a:cxn>
                        <a:cxn ang="T120">
                          <a:pos x="T48" y="T49"/>
                        </a:cxn>
                        <a:cxn ang="T121">
                          <a:pos x="T50" y="T51"/>
                        </a:cxn>
                        <a:cxn ang="T122">
                          <a:pos x="T52" y="T53"/>
                        </a:cxn>
                        <a:cxn ang="T123">
                          <a:pos x="T54" y="T55"/>
                        </a:cxn>
                        <a:cxn ang="T124">
                          <a:pos x="T56" y="T57"/>
                        </a:cxn>
                        <a:cxn ang="T125">
                          <a:pos x="T58" y="T59"/>
                        </a:cxn>
                        <a:cxn ang="T126">
                          <a:pos x="T60" y="T61"/>
                        </a:cxn>
                        <a:cxn ang="T127">
                          <a:pos x="T62" y="T63"/>
                        </a:cxn>
                        <a:cxn ang="T128">
                          <a:pos x="T64" y="T65"/>
                        </a:cxn>
                        <a:cxn ang="T129">
                          <a:pos x="T66" y="T67"/>
                        </a:cxn>
                        <a:cxn ang="T130">
                          <a:pos x="T68" y="T69"/>
                        </a:cxn>
                        <a:cxn ang="T131">
                          <a:pos x="T70" y="T71"/>
                        </a:cxn>
                        <a:cxn ang="T132">
                          <a:pos x="T72" y="T73"/>
                        </a:cxn>
                        <a:cxn ang="T133">
                          <a:pos x="T74" y="T75"/>
                        </a:cxn>
                        <a:cxn ang="T134">
                          <a:pos x="T76" y="T77"/>
                        </a:cxn>
                        <a:cxn ang="T135">
                          <a:pos x="T78" y="T79"/>
                        </a:cxn>
                        <a:cxn ang="T136">
                          <a:pos x="T80" y="T81"/>
                        </a:cxn>
                        <a:cxn ang="T137">
                          <a:pos x="T82" y="T83"/>
                        </a:cxn>
                        <a:cxn ang="T138">
                          <a:pos x="T84" y="T85"/>
                        </a:cxn>
                        <a:cxn ang="T139">
                          <a:pos x="T86" y="T87"/>
                        </a:cxn>
                        <a:cxn ang="T140">
                          <a:pos x="T88" y="T89"/>
                        </a:cxn>
                        <a:cxn ang="T141">
                          <a:pos x="T90" y="T91"/>
                        </a:cxn>
                        <a:cxn ang="T142">
                          <a:pos x="T92" y="T93"/>
                        </a:cxn>
                        <a:cxn ang="T143">
                          <a:pos x="T94" y="T95"/>
                        </a:cxn>
                      </a:cxnLst>
                      <a:rect l="0" t="0" r="r" b="b"/>
                      <a:pathLst>
                        <a:path w="706" h="486">
                          <a:moveTo>
                            <a:pt x="705" y="291"/>
                          </a:moveTo>
                          <a:lnTo>
                            <a:pt x="679" y="267"/>
                          </a:lnTo>
                          <a:lnTo>
                            <a:pt x="679" y="242"/>
                          </a:lnTo>
                          <a:lnTo>
                            <a:pt x="666" y="230"/>
                          </a:lnTo>
                          <a:lnTo>
                            <a:pt x="601" y="230"/>
                          </a:lnTo>
                          <a:lnTo>
                            <a:pt x="522" y="230"/>
                          </a:lnTo>
                          <a:lnTo>
                            <a:pt x="496" y="206"/>
                          </a:lnTo>
                          <a:lnTo>
                            <a:pt x="470" y="170"/>
                          </a:lnTo>
                          <a:lnTo>
                            <a:pt x="457" y="145"/>
                          </a:lnTo>
                          <a:lnTo>
                            <a:pt x="405" y="97"/>
                          </a:lnTo>
                          <a:lnTo>
                            <a:pt x="352" y="61"/>
                          </a:lnTo>
                          <a:lnTo>
                            <a:pt x="314" y="48"/>
                          </a:lnTo>
                          <a:lnTo>
                            <a:pt x="262" y="24"/>
                          </a:lnTo>
                          <a:lnTo>
                            <a:pt x="209" y="0"/>
                          </a:lnTo>
                          <a:lnTo>
                            <a:pt x="157" y="12"/>
                          </a:lnTo>
                          <a:lnTo>
                            <a:pt x="92" y="36"/>
                          </a:lnTo>
                          <a:lnTo>
                            <a:pt x="105" y="61"/>
                          </a:lnTo>
                          <a:lnTo>
                            <a:pt x="105" y="97"/>
                          </a:lnTo>
                          <a:lnTo>
                            <a:pt x="105" y="109"/>
                          </a:lnTo>
                          <a:lnTo>
                            <a:pt x="92" y="145"/>
                          </a:lnTo>
                          <a:lnTo>
                            <a:pt x="66" y="170"/>
                          </a:lnTo>
                          <a:lnTo>
                            <a:pt x="52" y="194"/>
                          </a:lnTo>
                          <a:lnTo>
                            <a:pt x="26" y="218"/>
                          </a:lnTo>
                          <a:lnTo>
                            <a:pt x="13" y="230"/>
                          </a:lnTo>
                          <a:lnTo>
                            <a:pt x="0" y="254"/>
                          </a:lnTo>
                          <a:lnTo>
                            <a:pt x="0" y="267"/>
                          </a:lnTo>
                          <a:lnTo>
                            <a:pt x="13" y="267"/>
                          </a:lnTo>
                          <a:lnTo>
                            <a:pt x="39" y="267"/>
                          </a:lnTo>
                          <a:lnTo>
                            <a:pt x="52" y="267"/>
                          </a:lnTo>
                          <a:lnTo>
                            <a:pt x="118" y="267"/>
                          </a:lnTo>
                          <a:lnTo>
                            <a:pt x="183" y="291"/>
                          </a:lnTo>
                          <a:lnTo>
                            <a:pt x="209" y="291"/>
                          </a:lnTo>
                          <a:lnTo>
                            <a:pt x="236" y="339"/>
                          </a:lnTo>
                          <a:lnTo>
                            <a:pt x="236" y="376"/>
                          </a:lnTo>
                          <a:lnTo>
                            <a:pt x="262" y="412"/>
                          </a:lnTo>
                          <a:lnTo>
                            <a:pt x="288" y="448"/>
                          </a:lnTo>
                          <a:lnTo>
                            <a:pt x="327" y="473"/>
                          </a:lnTo>
                          <a:lnTo>
                            <a:pt x="405" y="485"/>
                          </a:lnTo>
                          <a:lnTo>
                            <a:pt x="418" y="473"/>
                          </a:lnTo>
                          <a:lnTo>
                            <a:pt x="444" y="448"/>
                          </a:lnTo>
                          <a:lnTo>
                            <a:pt x="470" y="424"/>
                          </a:lnTo>
                          <a:lnTo>
                            <a:pt x="509" y="412"/>
                          </a:lnTo>
                          <a:lnTo>
                            <a:pt x="535" y="388"/>
                          </a:lnTo>
                          <a:lnTo>
                            <a:pt x="575" y="351"/>
                          </a:lnTo>
                          <a:lnTo>
                            <a:pt x="601" y="351"/>
                          </a:lnTo>
                          <a:lnTo>
                            <a:pt x="627" y="364"/>
                          </a:lnTo>
                          <a:lnTo>
                            <a:pt x="653" y="339"/>
                          </a:lnTo>
                          <a:lnTo>
                            <a:pt x="705" y="291"/>
                          </a:lnTo>
                        </a:path>
                      </a:pathLst>
                    </a:custGeom>
                    <a:gradFill rotWithShape="1">
                      <a:gsLst>
                        <a:gs pos="0">
                          <a:srgbClr val="000C48"/>
                        </a:gs>
                        <a:gs pos="50000">
                          <a:srgbClr val="00176A"/>
                        </a:gs>
                        <a:gs pos="100000">
                          <a:srgbClr val="001E80"/>
                        </a:gs>
                      </a:gsLst>
                      <a:lin ang="16200000" scaled="1"/>
                    </a:gra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 cap="flat" cmpd="sng">
                          <a:solidFill>
                            <a:srgbClr val="002277"/>
                          </a:solidFill>
                          <a:prstDash val="solid"/>
                          <a:round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68215" tIns="34106" rIns="68215" bIns="34106" anchor="ctr"/>
                    <a:lstStyle/>
                    <a:p>
                      <a:pPr algn="ctr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>
                        <a:solidFill>
                          <a:srgbClr val="00007F"/>
                        </a:solidFill>
                        <a:latin typeface="Arial" charset="0"/>
                      </a:endParaRPr>
                    </a:p>
                  </p:txBody>
                </p:sp>
                <p:sp>
                  <p:nvSpPr>
                    <p:cNvPr id="131" name="Freeform 107">
                      <a:extLst>
                        <a:ext uri="{FF2B5EF4-FFF2-40B4-BE49-F238E27FC236}">
                          <a16:creationId xmlns:a16="http://schemas.microsoft.com/office/drawing/2014/main" id="{45A7F6EE-4191-4DE0-8F5A-6908096027E2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3273" y="2830"/>
                      <a:ext cx="706" cy="486"/>
                    </a:xfrm>
                    <a:custGeom>
                      <a:avLst/>
                      <a:gdLst>
                        <a:gd name="T0" fmla="*/ 705 w 706"/>
                        <a:gd name="T1" fmla="*/ 291 h 486"/>
                        <a:gd name="T2" fmla="*/ 679 w 706"/>
                        <a:gd name="T3" fmla="*/ 267 h 486"/>
                        <a:gd name="T4" fmla="*/ 679 w 706"/>
                        <a:gd name="T5" fmla="*/ 242 h 486"/>
                        <a:gd name="T6" fmla="*/ 666 w 706"/>
                        <a:gd name="T7" fmla="*/ 230 h 486"/>
                        <a:gd name="T8" fmla="*/ 601 w 706"/>
                        <a:gd name="T9" fmla="*/ 230 h 486"/>
                        <a:gd name="T10" fmla="*/ 522 w 706"/>
                        <a:gd name="T11" fmla="*/ 230 h 486"/>
                        <a:gd name="T12" fmla="*/ 496 w 706"/>
                        <a:gd name="T13" fmla="*/ 206 h 486"/>
                        <a:gd name="T14" fmla="*/ 470 w 706"/>
                        <a:gd name="T15" fmla="*/ 170 h 486"/>
                        <a:gd name="T16" fmla="*/ 457 w 706"/>
                        <a:gd name="T17" fmla="*/ 145 h 486"/>
                        <a:gd name="T18" fmla="*/ 405 w 706"/>
                        <a:gd name="T19" fmla="*/ 97 h 486"/>
                        <a:gd name="T20" fmla="*/ 352 w 706"/>
                        <a:gd name="T21" fmla="*/ 61 h 486"/>
                        <a:gd name="T22" fmla="*/ 314 w 706"/>
                        <a:gd name="T23" fmla="*/ 48 h 486"/>
                        <a:gd name="T24" fmla="*/ 262 w 706"/>
                        <a:gd name="T25" fmla="*/ 24 h 486"/>
                        <a:gd name="T26" fmla="*/ 209 w 706"/>
                        <a:gd name="T27" fmla="*/ 0 h 486"/>
                        <a:gd name="T28" fmla="*/ 157 w 706"/>
                        <a:gd name="T29" fmla="*/ 12 h 486"/>
                        <a:gd name="T30" fmla="*/ 92 w 706"/>
                        <a:gd name="T31" fmla="*/ 36 h 486"/>
                        <a:gd name="T32" fmla="*/ 105 w 706"/>
                        <a:gd name="T33" fmla="*/ 61 h 486"/>
                        <a:gd name="T34" fmla="*/ 105 w 706"/>
                        <a:gd name="T35" fmla="*/ 97 h 486"/>
                        <a:gd name="T36" fmla="*/ 105 w 706"/>
                        <a:gd name="T37" fmla="*/ 109 h 486"/>
                        <a:gd name="T38" fmla="*/ 92 w 706"/>
                        <a:gd name="T39" fmla="*/ 145 h 486"/>
                        <a:gd name="T40" fmla="*/ 66 w 706"/>
                        <a:gd name="T41" fmla="*/ 170 h 486"/>
                        <a:gd name="T42" fmla="*/ 52 w 706"/>
                        <a:gd name="T43" fmla="*/ 194 h 486"/>
                        <a:gd name="T44" fmla="*/ 26 w 706"/>
                        <a:gd name="T45" fmla="*/ 218 h 486"/>
                        <a:gd name="T46" fmla="*/ 13 w 706"/>
                        <a:gd name="T47" fmla="*/ 230 h 486"/>
                        <a:gd name="T48" fmla="*/ 0 w 706"/>
                        <a:gd name="T49" fmla="*/ 254 h 486"/>
                        <a:gd name="T50" fmla="*/ 0 w 706"/>
                        <a:gd name="T51" fmla="*/ 267 h 486"/>
                        <a:gd name="T52" fmla="*/ 13 w 706"/>
                        <a:gd name="T53" fmla="*/ 267 h 486"/>
                        <a:gd name="T54" fmla="*/ 39 w 706"/>
                        <a:gd name="T55" fmla="*/ 267 h 486"/>
                        <a:gd name="T56" fmla="*/ 52 w 706"/>
                        <a:gd name="T57" fmla="*/ 267 h 486"/>
                        <a:gd name="T58" fmla="*/ 118 w 706"/>
                        <a:gd name="T59" fmla="*/ 267 h 486"/>
                        <a:gd name="T60" fmla="*/ 183 w 706"/>
                        <a:gd name="T61" fmla="*/ 291 h 486"/>
                        <a:gd name="T62" fmla="*/ 209 w 706"/>
                        <a:gd name="T63" fmla="*/ 291 h 486"/>
                        <a:gd name="T64" fmla="*/ 236 w 706"/>
                        <a:gd name="T65" fmla="*/ 339 h 486"/>
                        <a:gd name="T66" fmla="*/ 236 w 706"/>
                        <a:gd name="T67" fmla="*/ 376 h 486"/>
                        <a:gd name="T68" fmla="*/ 262 w 706"/>
                        <a:gd name="T69" fmla="*/ 412 h 486"/>
                        <a:gd name="T70" fmla="*/ 288 w 706"/>
                        <a:gd name="T71" fmla="*/ 448 h 486"/>
                        <a:gd name="T72" fmla="*/ 327 w 706"/>
                        <a:gd name="T73" fmla="*/ 473 h 486"/>
                        <a:gd name="T74" fmla="*/ 405 w 706"/>
                        <a:gd name="T75" fmla="*/ 485 h 486"/>
                        <a:gd name="T76" fmla="*/ 418 w 706"/>
                        <a:gd name="T77" fmla="*/ 473 h 486"/>
                        <a:gd name="T78" fmla="*/ 444 w 706"/>
                        <a:gd name="T79" fmla="*/ 448 h 486"/>
                        <a:gd name="T80" fmla="*/ 470 w 706"/>
                        <a:gd name="T81" fmla="*/ 424 h 486"/>
                        <a:gd name="T82" fmla="*/ 509 w 706"/>
                        <a:gd name="T83" fmla="*/ 412 h 486"/>
                        <a:gd name="T84" fmla="*/ 535 w 706"/>
                        <a:gd name="T85" fmla="*/ 388 h 486"/>
                        <a:gd name="T86" fmla="*/ 575 w 706"/>
                        <a:gd name="T87" fmla="*/ 351 h 486"/>
                        <a:gd name="T88" fmla="*/ 601 w 706"/>
                        <a:gd name="T89" fmla="*/ 351 h 486"/>
                        <a:gd name="T90" fmla="*/ 627 w 706"/>
                        <a:gd name="T91" fmla="*/ 364 h 486"/>
                        <a:gd name="T92" fmla="*/ 653 w 706"/>
                        <a:gd name="T93" fmla="*/ 339 h 486"/>
                        <a:gd name="T94" fmla="*/ 705 w 706"/>
                        <a:gd name="T95" fmla="*/ 291 h 48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</a:gdLst>
                      <a:ahLst/>
                      <a:cxnLst>
                        <a:cxn ang="T96">
                          <a:pos x="T0" y="T1"/>
                        </a:cxn>
                        <a:cxn ang="T97">
                          <a:pos x="T2" y="T3"/>
                        </a:cxn>
                        <a:cxn ang="T98">
                          <a:pos x="T4" y="T5"/>
                        </a:cxn>
                        <a:cxn ang="T99">
                          <a:pos x="T6" y="T7"/>
                        </a:cxn>
                        <a:cxn ang="T100">
                          <a:pos x="T8" y="T9"/>
                        </a:cxn>
                        <a:cxn ang="T101">
                          <a:pos x="T10" y="T11"/>
                        </a:cxn>
                        <a:cxn ang="T102">
                          <a:pos x="T12" y="T13"/>
                        </a:cxn>
                        <a:cxn ang="T103">
                          <a:pos x="T14" y="T15"/>
                        </a:cxn>
                        <a:cxn ang="T104">
                          <a:pos x="T16" y="T17"/>
                        </a:cxn>
                        <a:cxn ang="T105">
                          <a:pos x="T18" y="T19"/>
                        </a:cxn>
                        <a:cxn ang="T106">
                          <a:pos x="T20" y="T21"/>
                        </a:cxn>
                        <a:cxn ang="T107">
                          <a:pos x="T22" y="T23"/>
                        </a:cxn>
                        <a:cxn ang="T108">
                          <a:pos x="T24" y="T25"/>
                        </a:cxn>
                        <a:cxn ang="T109">
                          <a:pos x="T26" y="T27"/>
                        </a:cxn>
                        <a:cxn ang="T110">
                          <a:pos x="T28" y="T29"/>
                        </a:cxn>
                        <a:cxn ang="T111">
                          <a:pos x="T30" y="T31"/>
                        </a:cxn>
                        <a:cxn ang="T112">
                          <a:pos x="T32" y="T33"/>
                        </a:cxn>
                        <a:cxn ang="T113">
                          <a:pos x="T34" y="T35"/>
                        </a:cxn>
                        <a:cxn ang="T114">
                          <a:pos x="T36" y="T37"/>
                        </a:cxn>
                        <a:cxn ang="T115">
                          <a:pos x="T38" y="T39"/>
                        </a:cxn>
                        <a:cxn ang="T116">
                          <a:pos x="T40" y="T41"/>
                        </a:cxn>
                        <a:cxn ang="T117">
                          <a:pos x="T42" y="T43"/>
                        </a:cxn>
                        <a:cxn ang="T118">
                          <a:pos x="T44" y="T45"/>
                        </a:cxn>
                        <a:cxn ang="T119">
                          <a:pos x="T46" y="T47"/>
                        </a:cxn>
                        <a:cxn ang="T120">
                          <a:pos x="T48" y="T49"/>
                        </a:cxn>
                        <a:cxn ang="T121">
                          <a:pos x="T50" y="T51"/>
                        </a:cxn>
                        <a:cxn ang="T122">
                          <a:pos x="T52" y="T53"/>
                        </a:cxn>
                        <a:cxn ang="T123">
                          <a:pos x="T54" y="T55"/>
                        </a:cxn>
                        <a:cxn ang="T124">
                          <a:pos x="T56" y="T57"/>
                        </a:cxn>
                        <a:cxn ang="T125">
                          <a:pos x="T58" y="T59"/>
                        </a:cxn>
                        <a:cxn ang="T126">
                          <a:pos x="T60" y="T61"/>
                        </a:cxn>
                        <a:cxn ang="T127">
                          <a:pos x="T62" y="T63"/>
                        </a:cxn>
                        <a:cxn ang="T128">
                          <a:pos x="T64" y="T65"/>
                        </a:cxn>
                        <a:cxn ang="T129">
                          <a:pos x="T66" y="T67"/>
                        </a:cxn>
                        <a:cxn ang="T130">
                          <a:pos x="T68" y="T69"/>
                        </a:cxn>
                        <a:cxn ang="T131">
                          <a:pos x="T70" y="T71"/>
                        </a:cxn>
                        <a:cxn ang="T132">
                          <a:pos x="T72" y="T73"/>
                        </a:cxn>
                        <a:cxn ang="T133">
                          <a:pos x="T74" y="T75"/>
                        </a:cxn>
                        <a:cxn ang="T134">
                          <a:pos x="T76" y="T77"/>
                        </a:cxn>
                        <a:cxn ang="T135">
                          <a:pos x="T78" y="T79"/>
                        </a:cxn>
                        <a:cxn ang="T136">
                          <a:pos x="T80" y="T81"/>
                        </a:cxn>
                        <a:cxn ang="T137">
                          <a:pos x="T82" y="T83"/>
                        </a:cxn>
                        <a:cxn ang="T138">
                          <a:pos x="T84" y="T85"/>
                        </a:cxn>
                        <a:cxn ang="T139">
                          <a:pos x="T86" y="T87"/>
                        </a:cxn>
                        <a:cxn ang="T140">
                          <a:pos x="T88" y="T89"/>
                        </a:cxn>
                        <a:cxn ang="T141">
                          <a:pos x="T90" y="T91"/>
                        </a:cxn>
                        <a:cxn ang="T142">
                          <a:pos x="T92" y="T93"/>
                        </a:cxn>
                        <a:cxn ang="T143">
                          <a:pos x="T94" y="T95"/>
                        </a:cxn>
                      </a:cxnLst>
                      <a:rect l="0" t="0" r="r" b="b"/>
                      <a:pathLst>
                        <a:path w="706" h="486">
                          <a:moveTo>
                            <a:pt x="705" y="291"/>
                          </a:moveTo>
                          <a:lnTo>
                            <a:pt x="679" y="267"/>
                          </a:lnTo>
                          <a:lnTo>
                            <a:pt x="679" y="242"/>
                          </a:lnTo>
                          <a:lnTo>
                            <a:pt x="666" y="230"/>
                          </a:lnTo>
                          <a:lnTo>
                            <a:pt x="601" y="230"/>
                          </a:lnTo>
                          <a:lnTo>
                            <a:pt x="522" y="230"/>
                          </a:lnTo>
                          <a:lnTo>
                            <a:pt x="496" y="206"/>
                          </a:lnTo>
                          <a:lnTo>
                            <a:pt x="470" y="170"/>
                          </a:lnTo>
                          <a:lnTo>
                            <a:pt x="457" y="145"/>
                          </a:lnTo>
                          <a:lnTo>
                            <a:pt x="405" y="97"/>
                          </a:lnTo>
                          <a:lnTo>
                            <a:pt x="352" y="61"/>
                          </a:lnTo>
                          <a:lnTo>
                            <a:pt x="314" y="48"/>
                          </a:lnTo>
                          <a:lnTo>
                            <a:pt x="262" y="24"/>
                          </a:lnTo>
                          <a:lnTo>
                            <a:pt x="209" y="0"/>
                          </a:lnTo>
                          <a:lnTo>
                            <a:pt x="157" y="12"/>
                          </a:lnTo>
                          <a:lnTo>
                            <a:pt x="92" y="36"/>
                          </a:lnTo>
                          <a:lnTo>
                            <a:pt x="105" y="61"/>
                          </a:lnTo>
                          <a:lnTo>
                            <a:pt x="105" y="97"/>
                          </a:lnTo>
                          <a:lnTo>
                            <a:pt x="105" y="109"/>
                          </a:lnTo>
                          <a:lnTo>
                            <a:pt x="92" y="145"/>
                          </a:lnTo>
                          <a:lnTo>
                            <a:pt x="66" y="170"/>
                          </a:lnTo>
                          <a:lnTo>
                            <a:pt x="52" y="194"/>
                          </a:lnTo>
                          <a:lnTo>
                            <a:pt x="26" y="218"/>
                          </a:lnTo>
                          <a:lnTo>
                            <a:pt x="13" y="230"/>
                          </a:lnTo>
                          <a:lnTo>
                            <a:pt x="0" y="254"/>
                          </a:lnTo>
                          <a:lnTo>
                            <a:pt x="0" y="267"/>
                          </a:lnTo>
                          <a:lnTo>
                            <a:pt x="13" y="267"/>
                          </a:lnTo>
                          <a:lnTo>
                            <a:pt x="39" y="267"/>
                          </a:lnTo>
                          <a:lnTo>
                            <a:pt x="52" y="267"/>
                          </a:lnTo>
                          <a:lnTo>
                            <a:pt x="118" y="267"/>
                          </a:lnTo>
                          <a:lnTo>
                            <a:pt x="183" y="291"/>
                          </a:lnTo>
                          <a:lnTo>
                            <a:pt x="209" y="291"/>
                          </a:lnTo>
                          <a:lnTo>
                            <a:pt x="236" y="339"/>
                          </a:lnTo>
                          <a:lnTo>
                            <a:pt x="236" y="376"/>
                          </a:lnTo>
                          <a:lnTo>
                            <a:pt x="262" y="412"/>
                          </a:lnTo>
                          <a:lnTo>
                            <a:pt x="288" y="448"/>
                          </a:lnTo>
                          <a:lnTo>
                            <a:pt x="327" y="473"/>
                          </a:lnTo>
                          <a:lnTo>
                            <a:pt x="405" y="485"/>
                          </a:lnTo>
                          <a:lnTo>
                            <a:pt x="418" y="473"/>
                          </a:lnTo>
                          <a:lnTo>
                            <a:pt x="444" y="448"/>
                          </a:lnTo>
                          <a:lnTo>
                            <a:pt x="470" y="424"/>
                          </a:lnTo>
                          <a:lnTo>
                            <a:pt x="509" y="412"/>
                          </a:lnTo>
                          <a:lnTo>
                            <a:pt x="535" y="388"/>
                          </a:lnTo>
                          <a:lnTo>
                            <a:pt x="575" y="351"/>
                          </a:lnTo>
                          <a:lnTo>
                            <a:pt x="601" y="351"/>
                          </a:lnTo>
                          <a:lnTo>
                            <a:pt x="627" y="364"/>
                          </a:lnTo>
                          <a:lnTo>
                            <a:pt x="653" y="339"/>
                          </a:lnTo>
                          <a:lnTo>
                            <a:pt x="705" y="291"/>
                          </a:lnTo>
                        </a:path>
                      </a:pathLst>
                    </a:custGeom>
                    <a:gradFill rotWithShape="1">
                      <a:gsLst>
                        <a:gs pos="0">
                          <a:srgbClr val="000C48"/>
                        </a:gs>
                        <a:gs pos="50000">
                          <a:srgbClr val="00176A"/>
                        </a:gs>
                        <a:gs pos="100000">
                          <a:srgbClr val="001E80"/>
                        </a:gs>
                      </a:gsLst>
                      <a:lin ang="16200000" scaled="1"/>
                    </a:gra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 cap="flat" cmpd="sng">
                          <a:solidFill>
                            <a:srgbClr val="002277"/>
                          </a:solidFill>
                          <a:prstDash val="solid"/>
                          <a:round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68215" tIns="34106" rIns="68215" bIns="34106" anchor="ctr"/>
                    <a:lstStyle/>
                    <a:p>
                      <a:pPr algn="ctr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>
                        <a:solidFill>
                          <a:srgbClr val="00007F"/>
                        </a:solidFill>
                        <a:latin typeface="Arial" charset="0"/>
                      </a:endParaRPr>
                    </a:p>
                  </p:txBody>
                </p:sp>
              </p:grpSp>
              <p:sp>
                <p:nvSpPr>
                  <p:cNvPr id="108" name="Freeform 108">
                    <a:extLst>
                      <a:ext uri="{FF2B5EF4-FFF2-40B4-BE49-F238E27FC236}">
                        <a16:creationId xmlns:a16="http://schemas.microsoft.com/office/drawing/2014/main" id="{BCC1B347-99EC-462E-987B-E0FF7B14205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227907" y="5056336"/>
                    <a:ext cx="911225" cy="539750"/>
                  </a:xfrm>
                  <a:custGeom>
                    <a:avLst/>
                    <a:gdLst>
                      <a:gd name="T0" fmla="*/ 908913 w 603"/>
                      <a:gd name="T1" fmla="*/ 313162 h 376"/>
                      <a:gd name="T2" fmla="*/ 848520 w 603"/>
                      <a:gd name="T3" fmla="*/ 278685 h 376"/>
                      <a:gd name="T4" fmla="*/ 750382 w 603"/>
                      <a:gd name="T5" fmla="*/ 260010 h 376"/>
                      <a:gd name="T6" fmla="*/ 711126 w 603"/>
                      <a:gd name="T7" fmla="*/ 208296 h 376"/>
                      <a:gd name="T8" fmla="*/ 671871 w 603"/>
                      <a:gd name="T9" fmla="*/ 173819 h 376"/>
                      <a:gd name="T10" fmla="*/ 671871 w 603"/>
                      <a:gd name="T11" fmla="*/ 120668 h 376"/>
                      <a:gd name="T12" fmla="*/ 652243 w 603"/>
                      <a:gd name="T13" fmla="*/ 68953 h 376"/>
                      <a:gd name="T14" fmla="*/ 591850 w 603"/>
                      <a:gd name="T15" fmla="*/ 17238 h 376"/>
                      <a:gd name="T16" fmla="*/ 513340 w 603"/>
                      <a:gd name="T17" fmla="*/ 0 h 376"/>
                      <a:gd name="T18" fmla="*/ 493712 w 603"/>
                      <a:gd name="T19" fmla="*/ 0 h 376"/>
                      <a:gd name="T20" fmla="*/ 454457 w 603"/>
                      <a:gd name="T21" fmla="*/ 0 h 376"/>
                      <a:gd name="T22" fmla="*/ 395574 w 603"/>
                      <a:gd name="T23" fmla="*/ 0 h 376"/>
                      <a:gd name="T24" fmla="*/ 335181 w 603"/>
                      <a:gd name="T25" fmla="*/ 0 h 376"/>
                      <a:gd name="T26" fmla="*/ 295925 w 603"/>
                      <a:gd name="T27" fmla="*/ 0 h 376"/>
                      <a:gd name="T28" fmla="*/ 276298 w 603"/>
                      <a:gd name="T29" fmla="*/ 0 h 376"/>
                      <a:gd name="T30" fmla="*/ 256670 w 603"/>
                      <a:gd name="T31" fmla="*/ 17238 h 376"/>
                      <a:gd name="T32" fmla="*/ 237042 w 603"/>
                      <a:gd name="T33" fmla="*/ 34477 h 376"/>
                      <a:gd name="T34" fmla="*/ 217414 w 603"/>
                      <a:gd name="T35" fmla="*/ 51715 h 376"/>
                      <a:gd name="T36" fmla="*/ 178159 w 603"/>
                      <a:gd name="T37" fmla="*/ 86191 h 376"/>
                      <a:gd name="T38" fmla="*/ 119276 w 603"/>
                      <a:gd name="T39" fmla="*/ 103430 h 376"/>
                      <a:gd name="T40" fmla="*/ 119276 w 603"/>
                      <a:gd name="T41" fmla="*/ 139343 h 376"/>
                      <a:gd name="T42" fmla="*/ 119276 w 603"/>
                      <a:gd name="T43" fmla="*/ 173819 h 376"/>
                      <a:gd name="T44" fmla="*/ 58883 w 603"/>
                      <a:gd name="T45" fmla="*/ 225534 h 376"/>
                      <a:gd name="T46" fmla="*/ 39255 w 603"/>
                      <a:gd name="T47" fmla="*/ 242772 h 376"/>
                      <a:gd name="T48" fmla="*/ 19628 w 603"/>
                      <a:gd name="T49" fmla="*/ 295923 h 376"/>
                      <a:gd name="T50" fmla="*/ 19628 w 603"/>
                      <a:gd name="T51" fmla="*/ 330400 h 376"/>
                      <a:gd name="T52" fmla="*/ 0 w 603"/>
                      <a:gd name="T53" fmla="*/ 364876 h 376"/>
                      <a:gd name="T54" fmla="*/ 0 w 603"/>
                      <a:gd name="T55" fmla="*/ 382115 h 376"/>
                      <a:gd name="T56" fmla="*/ 39255 w 603"/>
                      <a:gd name="T57" fmla="*/ 418028 h 376"/>
                      <a:gd name="T58" fmla="*/ 78511 w 603"/>
                      <a:gd name="T59" fmla="*/ 452504 h 376"/>
                      <a:gd name="T60" fmla="*/ 78511 w 603"/>
                      <a:gd name="T61" fmla="*/ 486981 h 376"/>
                      <a:gd name="T62" fmla="*/ 98138 w 603"/>
                      <a:gd name="T63" fmla="*/ 521457 h 376"/>
                      <a:gd name="T64" fmla="*/ 138904 w 603"/>
                      <a:gd name="T65" fmla="*/ 521457 h 376"/>
                      <a:gd name="T66" fmla="*/ 217414 w 603"/>
                      <a:gd name="T67" fmla="*/ 521457 h 376"/>
                      <a:gd name="T68" fmla="*/ 295925 w 603"/>
                      <a:gd name="T69" fmla="*/ 538695 h 376"/>
                      <a:gd name="T70" fmla="*/ 375946 w 603"/>
                      <a:gd name="T71" fmla="*/ 538695 h 376"/>
                      <a:gd name="T72" fmla="*/ 415201 w 603"/>
                      <a:gd name="T73" fmla="*/ 521457 h 376"/>
                      <a:gd name="T74" fmla="*/ 434829 w 603"/>
                      <a:gd name="T75" fmla="*/ 504219 h 376"/>
                      <a:gd name="T76" fmla="*/ 552595 w 603"/>
                      <a:gd name="T77" fmla="*/ 486981 h 376"/>
                      <a:gd name="T78" fmla="*/ 591850 w 603"/>
                      <a:gd name="T79" fmla="*/ 452504 h 376"/>
                      <a:gd name="T80" fmla="*/ 730754 w 603"/>
                      <a:gd name="T81" fmla="*/ 452504 h 376"/>
                      <a:gd name="T82" fmla="*/ 750382 w 603"/>
                      <a:gd name="T83" fmla="*/ 435266 h 376"/>
                      <a:gd name="T84" fmla="*/ 809265 w 603"/>
                      <a:gd name="T85" fmla="*/ 435266 h 376"/>
                      <a:gd name="T86" fmla="*/ 848520 w 603"/>
                      <a:gd name="T87" fmla="*/ 452504 h 376"/>
                      <a:gd name="T88" fmla="*/ 868148 w 603"/>
                      <a:gd name="T89" fmla="*/ 382115 h 376"/>
                      <a:gd name="T90" fmla="*/ 908913 w 603"/>
                      <a:gd name="T91" fmla="*/ 313162 h 37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</a:gdLst>
                    <a:ahLst/>
                    <a:cxnLst>
                      <a:cxn ang="T92">
                        <a:pos x="T0" y="T1"/>
                      </a:cxn>
                      <a:cxn ang="T93">
                        <a:pos x="T2" y="T3"/>
                      </a:cxn>
                      <a:cxn ang="T94">
                        <a:pos x="T4" y="T5"/>
                      </a:cxn>
                      <a:cxn ang="T95">
                        <a:pos x="T6" y="T7"/>
                      </a:cxn>
                      <a:cxn ang="T96">
                        <a:pos x="T8" y="T9"/>
                      </a:cxn>
                      <a:cxn ang="T97">
                        <a:pos x="T10" y="T11"/>
                      </a:cxn>
                      <a:cxn ang="T98">
                        <a:pos x="T12" y="T13"/>
                      </a:cxn>
                      <a:cxn ang="T99">
                        <a:pos x="T14" y="T15"/>
                      </a:cxn>
                      <a:cxn ang="T100">
                        <a:pos x="T16" y="T17"/>
                      </a:cxn>
                      <a:cxn ang="T101">
                        <a:pos x="T18" y="T19"/>
                      </a:cxn>
                      <a:cxn ang="T102">
                        <a:pos x="T20" y="T21"/>
                      </a:cxn>
                      <a:cxn ang="T103">
                        <a:pos x="T22" y="T23"/>
                      </a:cxn>
                      <a:cxn ang="T104">
                        <a:pos x="T24" y="T25"/>
                      </a:cxn>
                      <a:cxn ang="T105">
                        <a:pos x="T26" y="T27"/>
                      </a:cxn>
                      <a:cxn ang="T106">
                        <a:pos x="T28" y="T29"/>
                      </a:cxn>
                      <a:cxn ang="T107">
                        <a:pos x="T30" y="T31"/>
                      </a:cxn>
                      <a:cxn ang="T108">
                        <a:pos x="T32" y="T33"/>
                      </a:cxn>
                      <a:cxn ang="T109">
                        <a:pos x="T34" y="T35"/>
                      </a:cxn>
                      <a:cxn ang="T110">
                        <a:pos x="T36" y="T37"/>
                      </a:cxn>
                      <a:cxn ang="T111">
                        <a:pos x="T38" y="T39"/>
                      </a:cxn>
                      <a:cxn ang="T112">
                        <a:pos x="T40" y="T41"/>
                      </a:cxn>
                      <a:cxn ang="T113">
                        <a:pos x="T42" y="T43"/>
                      </a:cxn>
                      <a:cxn ang="T114">
                        <a:pos x="T44" y="T45"/>
                      </a:cxn>
                      <a:cxn ang="T115">
                        <a:pos x="T46" y="T47"/>
                      </a:cxn>
                      <a:cxn ang="T116">
                        <a:pos x="T48" y="T49"/>
                      </a:cxn>
                      <a:cxn ang="T117">
                        <a:pos x="T50" y="T51"/>
                      </a:cxn>
                      <a:cxn ang="T118">
                        <a:pos x="T52" y="T53"/>
                      </a:cxn>
                      <a:cxn ang="T119">
                        <a:pos x="T54" y="T55"/>
                      </a:cxn>
                      <a:cxn ang="T120">
                        <a:pos x="T56" y="T57"/>
                      </a:cxn>
                      <a:cxn ang="T121">
                        <a:pos x="T58" y="T59"/>
                      </a:cxn>
                      <a:cxn ang="T122">
                        <a:pos x="T60" y="T61"/>
                      </a:cxn>
                      <a:cxn ang="T123">
                        <a:pos x="T62" y="T63"/>
                      </a:cxn>
                      <a:cxn ang="T124">
                        <a:pos x="T64" y="T65"/>
                      </a:cxn>
                      <a:cxn ang="T125">
                        <a:pos x="T66" y="T67"/>
                      </a:cxn>
                      <a:cxn ang="T126">
                        <a:pos x="T68" y="T69"/>
                      </a:cxn>
                      <a:cxn ang="T127">
                        <a:pos x="T70" y="T71"/>
                      </a:cxn>
                      <a:cxn ang="T128">
                        <a:pos x="T72" y="T73"/>
                      </a:cxn>
                      <a:cxn ang="T129">
                        <a:pos x="T74" y="T75"/>
                      </a:cxn>
                      <a:cxn ang="T130">
                        <a:pos x="T76" y="T77"/>
                      </a:cxn>
                      <a:cxn ang="T131">
                        <a:pos x="T78" y="T79"/>
                      </a:cxn>
                      <a:cxn ang="T132">
                        <a:pos x="T80" y="T81"/>
                      </a:cxn>
                      <a:cxn ang="T133">
                        <a:pos x="T82" y="T83"/>
                      </a:cxn>
                      <a:cxn ang="T134">
                        <a:pos x="T84" y="T85"/>
                      </a:cxn>
                      <a:cxn ang="T135">
                        <a:pos x="T86" y="T87"/>
                      </a:cxn>
                      <a:cxn ang="T136">
                        <a:pos x="T88" y="T89"/>
                      </a:cxn>
                      <a:cxn ang="T137">
                        <a:pos x="T90" y="T91"/>
                      </a:cxn>
                    </a:cxnLst>
                    <a:rect l="0" t="0" r="r" b="b"/>
                    <a:pathLst>
                      <a:path w="603" h="376">
                        <a:moveTo>
                          <a:pt x="602" y="218"/>
                        </a:moveTo>
                        <a:lnTo>
                          <a:pt x="562" y="194"/>
                        </a:lnTo>
                        <a:lnTo>
                          <a:pt x="497" y="181"/>
                        </a:lnTo>
                        <a:lnTo>
                          <a:pt x="471" y="145"/>
                        </a:lnTo>
                        <a:lnTo>
                          <a:pt x="445" y="121"/>
                        </a:lnTo>
                        <a:lnTo>
                          <a:pt x="445" y="84"/>
                        </a:lnTo>
                        <a:lnTo>
                          <a:pt x="432" y="48"/>
                        </a:lnTo>
                        <a:lnTo>
                          <a:pt x="392" y="12"/>
                        </a:lnTo>
                        <a:lnTo>
                          <a:pt x="340" y="0"/>
                        </a:lnTo>
                        <a:lnTo>
                          <a:pt x="327" y="0"/>
                        </a:lnTo>
                        <a:lnTo>
                          <a:pt x="301" y="0"/>
                        </a:lnTo>
                        <a:lnTo>
                          <a:pt x="262" y="0"/>
                        </a:lnTo>
                        <a:lnTo>
                          <a:pt x="222" y="0"/>
                        </a:lnTo>
                        <a:lnTo>
                          <a:pt x="196" y="0"/>
                        </a:lnTo>
                        <a:lnTo>
                          <a:pt x="183" y="0"/>
                        </a:lnTo>
                        <a:lnTo>
                          <a:pt x="170" y="12"/>
                        </a:lnTo>
                        <a:lnTo>
                          <a:pt x="157" y="24"/>
                        </a:lnTo>
                        <a:lnTo>
                          <a:pt x="144" y="36"/>
                        </a:lnTo>
                        <a:lnTo>
                          <a:pt x="118" y="60"/>
                        </a:lnTo>
                        <a:lnTo>
                          <a:pt x="79" y="72"/>
                        </a:lnTo>
                        <a:lnTo>
                          <a:pt x="79" y="97"/>
                        </a:lnTo>
                        <a:lnTo>
                          <a:pt x="79" y="121"/>
                        </a:lnTo>
                        <a:lnTo>
                          <a:pt x="39" y="157"/>
                        </a:lnTo>
                        <a:lnTo>
                          <a:pt x="26" y="169"/>
                        </a:lnTo>
                        <a:lnTo>
                          <a:pt x="13" y="206"/>
                        </a:lnTo>
                        <a:lnTo>
                          <a:pt x="13" y="230"/>
                        </a:lnTo>
                        <a:lnTo>
                          <a:pt x="0" y="254"/>
                        </a:lnTo>
                        <a:lnTo>
                          <a:pt x="0" y="266"/>
                        </a:lnTo>
                        <a:lnTo>
                          <a:pt x="26" y="291"/>
                        </a:lnTo>
                        <a:lnTo>
                          <a:pt x="52" y="315"/>
                        </a:lnTo>
                        <a:lnTo>
                          <a:pt x="52" y="339"/>
                        </a:lnTo>
                        <a:lnTo>
                          <a:pt x="65" y="363"/>
                        </a:lnTo>
                        <a:lnTo>
                          <a:pt x="92" y="363"/>
                        </a:lnTo>
                        <a:lnTo>
                          <a:pt x="144" y="363"/>
                        </a:lnTo>
                        <a:lnTo>
                          <a:pt x="196" y="375"/>
                        </a:lnTo>
                        <a:lnTo>
                          <a:pt x="249" y="375"/>
                        </a:lnTo>
                        <a:lnTo>
                          <a:pt x="275" y="363"/>
                        </a:lnTo>
                        <a:lnTo>
                          <a:pt x="288" y="351"/>
                        </a:lnTo>
                        <a:lnTo>
                          <a:pt x="366" y="339"/>
                        </a:lnTo>
                        <a:lnTo>
                          <a:pt x="392" y="315"/>
                        </a:lnTo>
                        <a:lnTo>
                          <a:pt x="484" y="315"/>
                        </a:lnTo>
                        <a:lnTo>
                          <a:pt x="497" y="303"/>
                        </a:lnTo>
                        <a:lnTo>
                          <a:pt x="536" y="303"/>
                        </a:lnTo>
                        <a:lnTo>
                          <a:pt x="562" y="315"/>
                        </a:lnTo>
                        <a:lnTo>
                          <a:pt x="575" y="266"/>
                        </a:lnTo>
                        <a:lnTo>
                          <a:pt x="602" y="218"/>
                        </a:lnTo>
                      </a:path>
                    </a:pathLst>
                  </a:custGeom>
                  <a:gradFill rotWithShape="1">
                    <a:gsLst>
                      <a:gs pos="0">
                        <a:srgbClr val="000C48"/>
                      </a:gs>
                      <a:gs pos="50000">
                        <a:srgbClr val="00176A"/>
                      </a:gs>
                      <a:gs pos="100000">
                        <a:srgbClr val="001E80"/>
                      </a:gs>
                    </a:gsLst>
                    <a:lin ang="16200000" scaled="1"/>
                  </a:gradFill>
                  <a:ln w="12700" cap="rnd" cmpd="sng">
                    <a:solidFill>
                      <a:srgbClr val="A3F55D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629338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09" name="Freeform 109">
                    <a:extLst>
                      <a:ext uri="{FF2B5EF4-FFF2-40B4-BE49-F238E27FC236}">
                        <a16:creationId xmlns:a16="http://schemas.microsoft.com/office/drawing/2014/main" id="{5FACA370-5A3A-468D-B5E7-23B6A6B3BD8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007245" y="5661174"/>
                    <a:ext cx="854075" cy="731837"/>
                  </a:xfrm>
                  <a:custGeom>
                    <a:avLst/>
                    <a:gdLst>
                      <a:gd name="T0" fmla="*/ 357667 w 563"/>
                      <a:gd name="T1" fmla="*/ 17194 h 510"/>
                      <a:gd name="T2" fmla="*/ 316747 w 563"/>
                      <a:gd name="T3" fmla="*/ 104600 h 510"/>
                      <a:gd name="T4" fmla="*/ 257641 w 563"/>
                      <a:gd name="T5" fmla="*/ 190572 h 510"/>
                      <a:gd name="T6" fmla="*/ 178833 w 563"/>
                      <a:gd name="T7" fmla="*/ 260783 h 510"/>
                      <a:gd name="T8" fmla="*/ 100025 w 563"/>
                      <a:gd name="T9" fmla="*/ 329561 h 510"/>
                      <a:gd name="T10" fmla="*/ 59106 w 563"/>
                      <a:gd name="T11" fmla="*/ 382577 h 510"/>
                      <a:gd name="T12" fmla="*/ 59106 w 563"/>
                      <a:gd name="T13" fmla="*/ 434161 h 510"/>
                      <a:gd name="T14" fmla="*/ 0 w 563"/>
                      <a:gd name="T15" fmla="*/ 468550 h 510"/>
                      <a:gd name="T16" fmla="*/ 0 w 563"/>
                      <a:gd name="T17" fmla="*/ 555955 h 510"/>
                      <a:gd name="T18" fmla="*/ 100025 w 563"/>
                      <a:gd name="T19" fmla="*/ 573150 h 510"/>
                      <a:gd name="T20" fmla="*/ 198535 w 563"/>
                      <a:gd name="T21" fmla="*/ 607539 h 510"/>
                      <a:gd name="T22" fmla="*/ 277343 w 563"/>
                      <a:gd name="T23" fmla="*/ 624733 h 510"/>
                      <a:gd name="T24" fmla="*/ 475878 w 563"/>
                      <a:gd name="T25" fmla="*/ 624733 h 510"/>
                      <a:gd name="T26" fmla="*/ 495580 w 563"/>
                      <a:gd name="T27" fmla="*/ 712139 h 510"/>
                      <a:gd name="T28" fmla="*/ 574388 w 563"/>
                      <a:gd name="T29" fmla="*/ 729333 h 510"/>
                      <a:gd name="T30" fmla="*/ 615308 w 563"/>
                      <a:gd name="T31" fmla="*/ 590344 h 510"/>
                      <a:gd name="T32" fmla="*/ 654712 w 563"/>
                      <a:gd name="T33" fmla="*/ 485744 h 510"/>
                      <a:gd name="T34" fmla="*/ 694116 w 563"/>
                      <a:gd name="T35" fmla="*/ 451355 h 510"/>
                      <a:gd name="T36" fmla="*/ 733520 w 563"/>
                      <a:gd name="T37" fmla="*/ 399772 h 510"/>
                      <a:gd name="T38" fmla="*/ 733520 w 563"/>
                      <a:gd name="T39" fmla="*/ 451355 h 510"/>
                      <a:gd name="T40" fmla="*/ 713818 w 563"/>
                      <a:gd name="T41" fmla="*/ 485744 h 510"/>
                      <a:gd name="T42" fmla="*/ 713818 w 563"/>
                      <a:gd name="T43" fmla="*/ 504372 h 510"/>
                      <a:gd name="T44" fmla="*/ 694116 w 563"/>
                      <a:gd name="T45" fmla="*/ 521566 h 510"/>
                      <a:gd name="T46" fmla="*/ 674414 w 563"/>
                      <a:gd name="T47" fmla="*/ 590344 h 510"/>
                      <a:gd name="T48" fmla="*/ 733520 w 563"/>
                      <a:gd name="T49" fmla="*/ 521566 h 510"/>
                      <a:gd name="T50" fmla="*/ 772924 w 563"/>
                      <a:gd name="T51" fmla="*/ 468550 h 510"/>
                      <a:gd name="T52" fmla="*/ 812328 w 563"/>
                      <a:gd name="T53" fmla="*/ 399772 h 510"/>
                      <a:gd name="T54" fmla="*/ 832029 w 563"/>
                      <a:gd name="T55" fmla="*/ 365383 h 510"/>
                      <a:gd name="T56" fmla="*/ 832029 w 563"/>
                      <a:gd name="T57" fmla="*/ 329561 h 510"/>
                      <a:gd name="T58" fmla="*/ 832029 w 563"/>
                      <a:gd name="T59" fmla="*/ 295172 h 510"/>
                      <a:gd name="T60" fmla="*/ 832029 w 563"/>
                      <a:gd name="T61" fmla="*/ 260783 h 510"/>
                      <a:gd name="T62" fmla="*/ 851731 w 563"/>
                      <a:gd name="T63" fmla="*/ 209200 h 510"/>
                      <a:gd name="T64" fmla="*/ 832029 w 563"/>
                      <a:gd name="T65" fmla="*/ 121794 h 510"/>
                      <a:gd name="T66" fmla="*/ 772924 w 563"/>
                      <a:gd name="T67" fmla="*/ 70211 h 510"/>
                      <a:gd name="T68" fmla="*/ 654712 w 563"/>
                      <a:gd name="T69" fmla="*/ 17194 h 510"/>
                      <a:gd name="T70" fmla="*/ 574388 w 563"/>
                      <a:gd name="T71" fmla="*/ 0 h 510"/>
                      <a:gd name="T72" fmla="*/ 475878 w 563"/>
                      <a:gd name="T73" fmla="*/ 17194 h 510"/>
                      <a:gd name="T74" fmla="*/ 357667 w 563"/>
                      <a:gd name="T75" fmla="*/ 17194 h 510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</a:gdLst>
                    <a:ahLst/>
                    <a:cxnLst>
                      <a:cxn ang="T76">
                        <a:pos x="T0" y="T1"/>
                      </a:cxn>
                      <a:cxn ang="T77">
                        <a:pos x="T2" y="T3"/>
                      </a:cxn>
                      <a:cxn ang="T78">
                        <a:pos x="T4" y="T5"/>
                      </a:cxn>
                      <a:cxn ang="T79">
                        <a:pos x="T6" y="T7"/>
                      </a:cxn>
                      <a:cxn ang="T80">
                        <a:pos x="T8" y="T9"/>
                      </a:cxn>
                      <a:cxn ang="T81">
                        <a:pos x="T10" y="T11"/>
                      </a:cxn>
                      <a:cxn ang="T82">
                        <a:pos x="T12" y="T13"/>
                      </a:cxn>
                      <a:cxn ang="T83">
                        <a:pos x="T14" y="T15"/>
                      </a:cxn>
                      <a:cxn ang="T84">
                        <a:pos x="T16" y="T17"/>
                      </a:cxn>
                      <a:cxn ang="T85">
                        <a:pos x="T18" y="T19"/>
                      </a:cxn>
                      <a:cxn ang="T86">
                        <a:pos x="T20" y="T21"/>
                      </a:cxn>
                      <a:cxn ang="T87">
                        <a:pos x="T22" y="T23"/>
                      </a:cxn>
                      <a:cxn ang="T88">
                        <a:pos x="T24" y="T25"/>
                      </a:cxn>
                      <a:cxn ang="T89">
                        <a:pos x="T26" y="T27"/>
                      </a:cxn>
                      <a:cxn ang="T90">
                        <a:pos x="T28" y="T29"/>
                      </a:cxn>
                      <a:cxn ang="T91">
                        <a:pos x="T30" y="T31"/>
                      </a:cxn>
                      <a:cxn ang="T92">
                        <a:pos x="T32" y="T33"/>
                      </a:cxn>
                      <a:cxn ang="T93">
                        <a:pos x="T34" y="T35"/>
                      </a:cxn>
                      <a:cxn ang="T94">
                        <a:pos x="T36" y="T37"/>
                      </a:cxn>
                      <a:cxn ang="T95">
                        <a:pos x="T38" y="T39"/>
                      </a:cxn>
                      <a:cxn ang="T96">
                        <a:pos x="T40" y="T41"/>
                      </a:cxn>
                      <a:cxn ang="T97">
                        <a:pos x="T42" y="T43"/>
                      </a:cxn>
                      <a:cxn ang="T98">
                        <a:pos x="T44" y="T45"/>
                      </a:cxn>
                      <a:cxn ang="T99">
                        <a:pos x="T46" y="T47"/>
                      </a:cxn>
                      <a:cxn ang="T100">
                        <a:pos x="T48" y="T49"/>
                      </a:cxn>
                      <a:cxn ang="T101">
                        <a:pos x="T50" y="T51"/>
                      </a:cxn>
                      <a:cxn ang="T102">
                        <a:pos x="T52" y="T53"/>
                      </a:cxn>
                      <a:cxn ang="T103">
                        <a:pos x="T54" y="T55"/>
                      </a:cxn>
                      <a:cxn ang="T104">
                        <a:pos x="T56" y="T57"/>
                      </a:cxn>
                      <a:cxn ang="T105">
                        <a:pos x="T58" y="T59"/>
                      </a:cxn>
                      <a:cxn ang="T106">
                        <a:pos x="T60" y="T61"/>
                      </a:cxn>
                      <a:cxn ang="T107">
                        <a:pos x="T62" y="T63"/>
                      </a:cxn>
                      <a:cxn ang="T108">
                        <a:pos x="T64" y="T65"/>
                      </a:cxn>
                      <a:cxn ang="T109">
                        <a:pos x="T66" y="T67"/>
                      </a:cxn>
                      <a:cxn ang="T110">
                        <a:pos x="T68" y="T69"/>
                      </a:cxn>
                      <a:cxn ang="T111">
                        <a:pos x="T70" y="T71"/>
                      </a:cxn>
                      <a:cxn ang="T112">
                        <a:pos x="T72" y="T73"/>
                      </a:cxn>
                      <a:cxn ang="T113">
                        <a:pos x="T74" y="T75"/>
                      </a:cxn>
                    </a:cxnLst>
                    <a:rect l="0" t="0" r="r" b="b"/>
                    <a:pathLst>
                      <a:path w="563" h="510">
                        <a:moveTo>
                          <a:pt x="236" y="12"/>
                        </a:moveTo>
                        <a:lnTo>
                          <a:pt x="209" y="73"/>
                        </a:lnTo>
                        <a:lnTo>
                          <a:pt x="170" y="133"/>
                        </a:lnTo>
                        <a:lnTo>
                          <a:pt x="118" y="182"/>
                        </a:lnTo>
                        <a:lnTo>
                          <a:pt x="66" y="230"/>
                        </a:lnTo>
                        <a:lnTo>
                          <a:pt x="39" y="267"/>
                        </a:lnTo>
                        <a:lnTo>
                          <a:pt x="39" y="303"/>
                        </a:lnTo>
                        <a:lnTo>
                          <a:pt x="0" y="327"/>
                        </a:lnTo>
                        <a:lnTo>
                          <a:pt x="0" y="388"/>
                        </a:lnTo>
                        <a:lnTo>
                          <a:pt x="66" y="400"/>
                        </a:lnTo>
                        <a:lnTo>
                          <a:pt x="131" y="424"/>
                        </a:lnTo>
                        <a:lnTo>
                          <a:pt x="183" y="436"/>
                        </a:lnTo>
                        <a:lnTo>
                          <a:pt x="314" y="436"/>
                        </a:lnTo>
                        <a:lnTo>
                          <a:pt x="327" y="497"/>
                        </a:lnTo>
                        <a:lnTo>
                          <a:pt x="379" y="509"/>
                        </a:lnTo>
                        <a:lnTo>
                          <a:pt x="406" y="412"/>
                        </a:lnTo>
                        <a:lnTo>
                          <a:pt x="432" y="339"/>
                        </a:lnTo>
                        <a:lnTo>
                          <a:pt x="458" y="315"/>
                        </a:lnTo>
                        <a:lnTo>
                          <a:pt x="484" y="279"/>
                        </a:lnTo>
                        <a:lnTo>
                          <a:pt x="484" y="315"/>
                        </a:lnTo>
                        <a:lnTo>
                          <a:pt x="471" y="339"/>
                        </a:lnTo>
                        <a:lnTo>
                          <a:pt x="471" y="352"/>
                        </a:lnTo>
                        <a:lnTo>
                          <a:pt x="458" y="364"/>
                        </a:lnTo>
                        <a:lnTo>
                          <a:pt x="445" y="412"/>
                        </a:lnTo>
                        <a:lnTo>
                          <a:pt x="484" y="364"/>
                        </a:lnTo>
                        <a:lnTo>
                          <a:pt x="510" y="327"/>
                        </a:lnTo>
                        <a:lnTo>
                          <a:pt x="536" y="279"/>
                        </a:lnTo>
                        <a:lnTo>
                          <a:pt x="549" y="255"/>
                        </a:lnTo>
                        <a:lnTo>
                          <a:pt x="549" y="230"/>
                        </a:lnTo>
                        <a:lnTo>
                          <a:pt x="549" y="206"/>
                        </a:lnTo>
                        <a:lnTo>
                          <a:pt x="549" y="182"/>
                        </a:lnTo>
                        <a:lnTo>
                          <a:pt x="562" y="146"/>
                        </a:lnTo>
                        <a:lnTo>
                          <a:pt x="549" y="85"/>
                        </a:lnTo>
                        <a:lnTo>
                          <a:pt x="510" y="49"/>
                        </a:lnTo>
                        <a:lnTo>
                          <a:pt x="432" y="12"/>
                        </a:lnTo>
                        <a:lnTo>
                          <a:pt x="379" y="0"/>
                        </a:lnTo>
                        <a:lnTo>
                          <a:pt x="314" y="12"/>
                        </a:lnTo>
                        <a:lnTo>
                          <a:pt x="236" y="12"/>
                        </a:lnTo>
                      </a:path>
                    </a:pathLst>
                  </a:custGeom>
                  <a:solidFill>
                    <a:srgbClr val="FFAC31"/>
                  </a:solidFill>
                  <a:ln w="3175" cap="rnd" cmpd="sng">
                    <a:solidFill>
                      <a:srgbClr val="4D4D4D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2E2E2E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10" name="Freeform 110">
                    <a:extLst>
                      <a:ext uri="{FF2B5EF4-FFF2-40B4-BE49-F238E27FC236}">
                        <a16:creationId xmlns:a16="http://schemas.microsoft.com/office/drawing/2014/main" id="{6DFBD818-22C0-4D6B-81F1-DE91E9575DB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008011" y="5661863"/>
                    <a:ext cx="853247" cy="730766"/>
                  </a:xfrm>
                  <a:custGeom>
                    <a:avLst/>
                    <a:gdLst>
                      <a:gd name="T0" fmla="*/ 236 w 563"/>
                      <a:gd name="T1" fmla="*/ 12 h 510"/>
                      <a:gd name="T2" fmla="*/ 209 w 563"/>
                      <a:gd name="T3" fmla="*/ 73 h 510"/>
                      <a:gd name="T4" fmla="*/ 170 w 563"/>
                      <a:gd name="T5" fmla="*/ 133 h 510"/>
                      <a:gd name="T6" fmla="*/ 118 w 563"/>
                      <a:gd name="T7" fmla="*/ 182 h 510"/>
                      <a:gd name="T8" fmla="*/ 66 w 563"/>
                      <a:gd name="T9" fmla="*/ 230 h 510"/>
                      <a:gd name="T10" fmla="*/ 39 w 563"/>
                      <a:gd name="T11" fmla="*/ 267 h 510"/>
                      <a:gd name="T12" fmla="*/ 39 w 563"/>
                      <a:gd name="T13" fmla="*/ 303 h 510"/>
                      <a:gd name="T14" fmla="*/ 0 w 563"/>
                      <a:gd name="T15" fmla="*/ 327 h 510"/>
                      <a:gd name="T16" fmla="*/ 0 w 563"/>
                      <a:gd name="T17" fmla="*/ 388 h 510"/>
                      <a:gd name="T18" fmla="*/ 66 w 563"/>
                      <a:gd name="T19" fmla="*/ 400 h 510"/>
                      <a:gd name="T20" fmla="*/ 131 w 563"/>
                      <a:gd name="T21" fmla="*/ 424 h 510"/>
                      <a:gd name="T22" fmla="*/ 183 w 563"/>
                      <a:gd name="T23" fmla="*/ 436 h 510"/>
                      <a:gd name="T24" fmla="*/ 314 w 563"/>
                      <a:gd name="T25" fmla="*/ 436 h 510"/>
                      <a:gd name="T26" fmla="*/ 327 w 563"/>
                      <a:gd name="T27" fmla="*/ 497 h 510"/>
                      <a:gd name="T28" fmla="*/ 379 w 563"/>
                      <a:gd name="T29" fmla="*/ 509 h 510"/>
                      <a:gd name="T30" fmla="*/ 406 w 563"/>
                      <a:gd name="T31" fmla="*/ 412 h 510"/>
                      <a:gd name="T32" fmla="*/ 432 w 563"/>
                      <a:gd name="T33" fmla="*/ 339 h 510"/>
                      <a:gd name="T34" fmla="*/ 458 w 563"/>
                      <a:gd name="T35" fmla="*/ 315 h 510"/>
                      <a:gd name="T36" fmla="*/ 484 w 563"/>
                      <a:gd name="T37" fmla="*/ 279 h 510"/>
                      <a:gd name="T38" fmla="*/ 484 w 563"/>
                      <a:gd name="T39" fmla="*/ 315 h 510"/>
                      <a:gd name="T40" fmla="*/ 471 w 563"/>
                      <a:gd name="T41" fmla="*/ 339 h 510"/>
                      <a:gd name="T42" fmla="*/ 471 w 563"/>
                      <a:gd name="T43" fmla="*/ 352 h 510"/>
                      <a:gd name="T44" fmla="*/ 458 w 563"/>
                      <a:gd name="T45" fmla="*/ 364 h 510"/>
                      <a:gd name="T46" fmla="*/ 445 w 563"/>
                      <a:gd name="T47" fmla="*/ 412 h 510"/>
                      <a:gd name="T48" fmla="*/ 484 w 563"/>
                      <a:gd name="T49" fmla="*/ 364 h 510"/>
                      <a:gd name="T50" fmla="*/ 510 w 563"/>
                      <a:gd name="T51" fmla="*/ 327 h 510"/>
                      <a:gd name="T52" fmla="*/ 536 w 563"/>
                      <a:gd name="T53" fmla="*/ 279 h 510"/>
                      <a:gd name="T54" fmla="*/ 549 w 563"/>
                      <a:gd name="T55" fmla="*/ 255 h 510"/>
                      <a:gd name="T56" fmla="*/ 549 w 563"/>
                      <a:gd name="T57" fmla="*/ 230 h 510"/>
                      <a:gd name="T58" fmla="*/ 549 w 563"/>
                      <a:gd name="T59" fmla="*/ 206 h 510"/>
                      <a:gd name="T60" fmla="*/ 549 w 563"/>
                      <a:gd name="T61" fmla="*/ 182 h 510"/>
                      <a:gd name="T62" fmla="*/ 562 w 563"/>
                      <a:gd name="T63" fmla="*/ 146 h 510"/>
                      <a:gd name="T64" fmla="*/ 549 w 563"/>
                      <a:gd name="T65" fmla="*/ 85 h 510"/>
                      <a:gd name="T66" fmla="*/ 510 w 563"/>
                      <a:gd name="T67" fmla="*/ 49 h 510"/>
                      <a:gd name="T68" fmla="*/ 432 w 563"/>
                      <a:gd name="T69" fmla="*/ 12 h 510"/>
                      <a:gd name="T70" fmla="*/ 379 w 563"/>
                      <a:gd name="T71" fmla="*/ 0 h 510"/>
                      <a:gd name="T72" fmla="*/ 314 w 563"/>
                      <a:gd name="T73" fmla="*/ 12 h 510"/>
                      <a:gd name="T74" fmla="*/ 236 w 563"/>
                      <a:gd name="T75" fmla="*/ 12 h 5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</a:cxnLst>
                    <a:rect l="0" t="0" r="r" b="b"/>
                    <a:pathLst>
                      <a:path w="563" h="510">
                        <a:moveTo>
                          <a:pt x="236" y="12"/>
                        </a:moveTo>
                        <a:lnTo>
                          <a:pt x="209" y="73"/>
                        </a:lnTo>
                        <a:lnTo>
                          <a:pt x="170" y="133"/>
                        </a:lnTo>
                        <a:lnTo>
                          <a:pt x="118" y="182"/>
                        </a:lnTo>
                        <a:lnTo>
                          <a:pt x="66" y="230"/>
                        </a:lnTo>
                        <a:lnTo>
                          <a:pt x="39" y="267"/>
                        </a:lnTo>
                        <a:lnTo>
                          <a:pt x="39" y="303"/>
                        </a:lnTo>
                        <a:lnTo>
                          <a:pt x="0" y="327"/>
                        </a:lnTo>
                        <a:lnTo>
                          <a:pt x="0" y="388"/>
                        </a:lnTo>
                        <a:lnTo>
                          <a:pt x="66" y="400"/>
                        </a:lnTo>
                        <a:lnTo>
                          <a:pt x="131" y="424"/>
                        </a:lnTo>
                        <a:lnTo>
                          <a:pt x="183" y="436"/>
                        </a:lnTo>
                        <a:lnTo>
                          <a:pt x="314" y="436"/>
                        </a:lnTo>
                        <a:lnTo>
                          <a:pt x="327" y="497"/>
                        </a:lnTo>
                        <a:lnTo>
                          <a:pt x="379" y="509"/>
                        </a:lnTo>
                        <a:lnTo>
                          <a:pt x="406" y="412"/>
                        </a:lnTo>
                        <a:lnTo>
                          <a:pt x="432" y="339"/>
                        </a:lnTo>
                        <a:lnTo>
                          <a:pt x="458" y="315"/>
                        </a:lnTo>
                        <a:lnTo>
                          <a:pt x="484" y="279"/>
                        </a:lnTo>
                        <a:lnTo>
                          <a:pt x="484" y="315"/>
                        </a:lnTo>
                        <a:lnTo>
                          <a:pt x="471" y="339"/>
                        </a:lnTo>
                        <a:lnTo>
                          <a:pt x="471" y="352"/>
                        </a:lnTo>
                        <a:lnTo>
                          <a:pt x="458" y="364"/>
                        </a:lnTo>
                        <a:lnTo>
                          <a:pt x="445" y="412"/>
                        </a:lnTo>
                        <a:lnTo>
                          <a:pt x="484" y="364"/>
                        </a:lnTo>
                        <a:lnTo>
                          <a:pt x="510" y="327"/>
                        </a:lnTo>
                        <a:lnTo>
                          <a:pt x="536" y="279"/>
                        </a:lnTo>
                        <a:lnTo>
                          <a:pt x="549" y="255"/>
                        </a:lnTo>
                        <a:lnTo>
                          <a:pt x="549" y="230"/>
                        </a:lnTo>
                        <a:lnTo>
                          <a:pt x="549" y="206"/>
                        </a:lnTo>
                        <a:lnTo>
                          <a:pt x="549" y="182"/>
                        </a:lnTo>
                        <a:lnTo>
                          <a:pt x="562" y="146"/>
                        </a:lnTo>
                        <a:lnTo>
                          <a:pt x="549" y="85"/>
                        </a:lnTo>
                        <a:lnTo>
                          <a:pt x="510" y="49"/>
                        </a:lnTo>
                        <a:lnTo>
                          <a:pt x="432" y="12"/>
                        </a:lnTo>
                        <a:lnTo>
                          <a:pt x="379" y="0"/>
                        </a:lnTo>
                        <a:lnTo>
                          <a:pt x="314" y="12"/>
                        </a:lnTo>
                        <a:lnTo>
                          <a:pt x="236" y="12"/>
                        </a:lnTo>
                      </a:path>
                    </a:pathLst>
                  </a:custGeom>
                  <a:gradFill flip="none" rotWithShape="1">
                    <a:gsLst>
                      <a:gs pos="0">
                        <a:srgbClr val="CCFF66">
                          <a:shade val="30000"/>
                          <a:satMod val="115000"/>
                        </a:srgbClr>
                      </a:gs>
                      <a:gs pos="50000">
                        <a:srgbClr val="CCFF66">
                          <a:shade val="67500"/>
                          <a:satMod val="115000"/>
                        </a:srgbClr>
                      </a:gs>
                      <a:gs pos="100000">
                        <a:srgbClr val="CCFF66">
                          <a:shade val="100000"/>
                          <a:satMod val="115000"/>
                        </a:srgbClr>
                      </a:gs>
                    </a:gsLst>
                    <a:path path="circle">
                      <a:fillToRect l="100000" t="100000"/>
                    </a:path>
                    <a:tileRect r="-100000" b="-100000"/>
                  </a:gra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12700" cap="rnd" cmpd="sng">
                        <a:solidFill>
                          <a:srgbClr val="A3F55D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CCFF66">
                              <a:gamma/>
                              <a:shade val="60000"/>
                              <a:invGamma/>
                            </a:srgbClr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>
                    <a:lvl1pPr eaLnBrk="0" hangingPunct="0">
                      <a:defRPr sz="3000"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3000"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30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3000"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3000"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3000"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3000"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3000"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3000"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pPr algn="ctr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pt-BR" sz="2400" kern="0">
                      <a:solidFill>
                        <a:srgbClr val="00007F"/>
                      </a:solidFill>
                    </a:endParaRPr>
                  </a:p>
                </p:txBody>
              </p:sp>
              <p:sp>
                <p:nvSpPr>
                  <p:cNvPr id="111" name="Freeform 111">
                    <a:extLst>
                      <a:ext uri="{FF2B5EF4-FFF2-40B4-BE49-F238E27FC236}">
                        <a16:creationId xmlns:a16="http://schemas.microsoft.com/office/drawing/2014/main" id="{04E91A91-6411-41A3-860A-2F281074B0C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53827" y="1571774"/>
                    <a:ext cx="1860550" cy="1722437"/>
                  </a:xfrm>
                  <a:custGeom>
                    <a:avLst/>
                    <a:gdLst>
                      <a:gd name="T0" fmla="*/ 475325 w 1229"/>
                      <a:gd name="T1" fmla="*/ 1720633 h 1201"/>
                      <a:gd name="T2" fmla="*/ 1422948 w 1229"/>
                      <a:gd name="T3" fmla="*/ 1633168 h 1201"/>
                      <a:gd name="T4" fmla="*/ 1463820 w 1229"/>
                      <a:gd name="T5" fmla="*/ 1511289 h 1201"/>
                      <a:gd name="T6" fmla="*/ 1483499 w 1229"/>
                      <a:gd name="T7" fmla="*/ 1354999 h 1201"/>
                      <a:gd name="T8" fmla="*/ 1542536 w 1229"/>
                      <a:gd name="T9" fmla="*/ 1198708 h 1201"/>
                      <a:gd name="T10" fmla="*/ 1680290 w 1229"/>
                      <a:gd name="T11" fmla="*/ 1076830 h 1201"/>
                      <a:gd name="T12" fmla="*/ 1740841 w 1229"/>
                      <a:gd name="T13" fmla="*/ 972158 h 1201"/>
                      <a:gd name="T14" fmla="*/ 1819557 w 1229"/>
                      <a:gd name="T15" fmla="*/ 850280 h 1201"/>
                      <a:gd name="T16" fmla="*/ 1839236 w 1229"/>
                      <a:gd name="T17" fmla="*/ 676782 h 1201"/>
                      <a:gd name="T18" fmla="*/ 1780199 w 1229"/>
                      <a:gd name="T19" fmla="*/ 573544 h 1201"/>
                      <a:gd name="T20" fmla="*/ 1640932 w 1229"/>
                      <a:gd name="T21" fmla="*/ 607957 h 1201"/>
                      <a:gd name="T22" fmla="*/ 1562215 w 1229"/>
                      <a:gd name="T23" fmla="*/ 676782 h 1201"/>
                      <a:gd name="T24" fmla="*/ 1522857 w 1229"/>
                      <a:gd name="T25" fmla="*/ 764248 h 1201"/>
                      <a:gd name="T26" fmla="*/ 1422948 w 1229"/>
                      <a:gd name="T27" fmla="*/ 764248 h 1201"/>
                      <a:gd name="T28" fmla="*/ 1324553 w 1229"/>
                      <a:gd name="T29" fmla="*/ 729835 h 1201"/>
                      <a:gd name="T30" fmla="*/ 1226157 w 1229"/>
                      <a:gd name="T31" fmla="*/ 781454 h 1201"/>
                      <a:gd name="T32" fmla="*/ 1185286 w 1229"/>
                      <a:gd name="T33" fmla="*/ 693989 h 1201"/>
                      <a:gd name="T34" fmla="*/ 1086890 w 1229"/>
                      <a:gd name="T35" fmla="*/ 729835 h 1201"/>
                      <a:gd name="T36" fmla="*/ 1086890 w 1229"/>
                      <a:gd name="T37" fmla="*/ 625163 h 1201"/>
                      <a:gd name="T38" fmla="*/ 1226157 w 1229"/>
                      <a:gd name="T39" fmla="*/ 537698 h 1201"/>
                      <a:gd name="T40" fmla="*/ 1265516 w 1229"/>
                      <a:gd name="T41" fmla="*/ 451666 h 1201"/>
                      <a:gd name="T42" fmla="*/ 1324553 w 1229"/>
                      <a:gd name="T43" fmla="*/ 346994 h 1201"/>
                      <a:gd name="T44" fmla="*/ 1324553 w 1229"/>
                      <a:gd name="T45" fmla="*/ 295375 h 1201"/>
                      <a:gd name="T46" fmla="*/ 1206478 w 1229"/>
                      <a:gd name="T47" fmla="*/ 242323 h 1201"/>
                      <a:gd name="T48" fmla="*/ 1126248 w 1229"/>
                      <a:gd name="T49" fmla="*/ 103238 h 1201"/>
                      <a:gd name="T50" fmla="*/ 1086890 w 1229"/>
                      <a:gd name="T51" fmla="*/ 0 h 1201"/>
                      <a:gd name="T52" fmla="*/ 1027853 w 1229"/>
                      <a:gd name="T53" fmla="*/ 156291 h 1201"/>
                      <a:gd name="T54" fmla="*/ 927944 w 1229"/>
                      <a:gd name="T55" fmla="*/ 295375 h 1201"/>
                      <a:gd name="T56" fmla="*/ 712988 w 1229"/>
                      <a:gd name="T57" fmla="*/ 259529 h 1201"/>
                      <a:gd name="T58" fmla="*/ 534362 w 1229"/>
                      <a:gd name="T59" fmla="*/ 276735 h 1201"/>
                      <a:gd name="T60" fmla="*/ 416288 w 1229"/>
                      <a:gd name="T61" fmla="*/ 346994 h 1201"/>
                      <a:gd name="T62" fmla="*/ 257342 w 1229"/>
                      <a:gd name="T63" fmla="*/ 346994 h 1201"/>
                      <a:gd name="T64" fmla="*/ 59037 w 1229"/>
                      <a:gd name="T65" fmla="*/ 398613 h 1201"/>
                      <a:gd name="T66" fmla="*/ 0 w 1229"/>
                      <a:gd name="T67" fmla="*/ 520492 h 1201"/>
                      <a:gd name="T68" fmla="*/ 98395 w 1229"/>
                      <a:gd name="T69" fmla="*/ 659576 h 1201"/>
                      <a:gd name="T70" fmla="*/ 178625 w 1229"/>
                      <a:gd name="T71" fmla="*/ 747042 h 1201"/>
                      <a:gd name="T72" fmla="*/ 375416 w 1229"/>
                      <a:gd name="T73" fmla="*/ 850280 h 1201"/>
                      <a:gd name="T74" fmla="*/ 416288 w 1229"/>
                      <a:gd name="T75" fmla="*/ 1076830 h 1201"/>
                      <a:gd name="T76" fmla="*/ 375416 w 1229"/>
                      <a:gd name="T77" fmla="*/ 1181501 h 1201"/>
                      <a:gd name="T78" fmla="*/ 375416 w 1229"/>
                      <a:gd name="T79" fmla="*/ 1320586 h 1201"/>
                      <a:gd name="T80" fmla="*/ 355737 w 1229"/>
                      <a:gd name="T81" fmla="*/ 1423824 h 1201"/>
                      <a:gd name="T82" fmla="*/ 375416 w 1229"/>
                      <a:gd name="T83" fmla="*/ 1494083 h 1201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</a:gdLst>
                    <a:ahLst/>
                    <a:cxnLst>
                      <a:cxn ang="T84">
                        <a:pos x="T0" y="T1"/>
                      </a:cxn>
                      <a:cxn ang="T85">
                        <a:pos x="T2" y="T3"/>
                      </a:cxn>
                      <a:cxn ang="T86">
                        <a:pos x="T4" y="T5"/>
                      </a:cxn>
                      <a:cxn ang="T87">
                        <a:pos x="T6" y="T7"/>
                      </a:cxn>
                      <a:cxn ang="T88">
                        <a:pos x="T8" y="T9"/>
                      </a:cxn>
                      <a:cxn ang="T89">
                        <a:pos x="T10" y="T11"/>
                      </a:cxn>
                      <a:cxn ang="T90">
                        <a:pos x="T12" y="T13"/>
                      </a:cxn>
                      <a:cxn ang="T91">
                        <a:pos x="T14" y="T15"/>
                      </a:cxn>
                      <a:cxn ang="T92">
                        <a:pos x="T16" y="T17"/>
                      </a:cxn>
                      <a:cxn ang="T93">
                        <a:pos x="T18" y="T19"/>
                      </a:cxn>
                      <a:cxn ang="T94">
                        <a:pos x="T20" y="T21"/>
                      </a:cxn>
                      <a:cxn ang="T95">
                        <a:pos x="T22" y="T23"/>
                      </a:cxn>
                      <a:cxn ang="T96">
                        <a:pos x="T24" y="T25"/>
                      </a:cxn>
                      <a:cxn ang="T97">
                        <a:pos x="T26" y="T27"/>
                      </a:cxn>
                      <a:cxn ang="T98">
                        <a:pos x="T28" y="T29"/>
                      </a:cxn>
                      <a:cxn ang="T99">
                        <a:pos x="T30" y="T31"/>
                      </a:cxn>
                      <a:cxn ang="T100">
                        <a:pos x="T32" y="T33"/>
                      </a:cxn>
                      <a:cxn ang="T101">
                        <a:pos x="T34" y="T35"/>
                      </a:cxn>
                      <a:cxn ang="T102">
                        <a:pos x="T36" y="T37"/>
                      </a:cxn>
                      <a:cxn ang="T103">
                        <a:pos x="T38" y="T39"/>
                      </a:cxn>
                      <a:cxn ang="T104">
                        <a:pos x="T40" y="T41"/>
                      </a:cxn>
                      <a:cxn ang="T105">
                        <a:pos x="T42" y="T43"/>
                      </a:cxn>
                      <a:cxn ang="T106">
                        <a:pos x="T44" y="T45"/>
                      </a:cxn>
                      <a:cxn ang="T107">
                        <a:pos x="T46" y="T47"/>
                      </a:cxn>
                      <a:cxn ang="T108">
                        <a:pos x="T48" y="T49"/>
                      </a:cxn>
                      <a:cxn ang="T109">
                        <a:pos x="T50" y="T51"/>
                      </a:cxn>
                      <a:cxn ang="T110">
                        <a:pos x="T52" y="T53"/>
                      </a:cxn>
                      <a:cxn ang="T111">
                        <a:pos x="T54" y="T55"/>
                      </a:cxn>
                      <a:cxn ang="T112">
                        <a:pos x="T56" y="T57"/>
                      </a:cxn>
                      <a:cxn ang="T113">
                        <a:pos x="T58" y="T59"/>
                      </a:cxn>
                      <a:cxn ang="T114">
                        <a:pos x="T60" y="T61"/>
                      </a:cxn>
                      <a:cxn ang="T115">
                        <a:pos x="T62" y="T63"/>
                      </a:cxn>
                      <a:cxn ang="T116">
                        <a:pos x="T64" y="T65"/>
                      </a:cxn>
                      <a:cxn ang="T117">
                        <a:pos x="T66" y="T67"/>
                      </a:cxn>
                      <a:cxn ang="T118">
                        <a:pos x="T68" y="T69"/>
                      </a:cxn>
                      <a:cxn ang="T119">
                        <a:pos x="T70" y="T71"/>
                      </a:cxn>
                      <a:cxn ang="T120">
                        <a:pos x="T72" y="T73"/>
                      </a:cxn>
                      <a:cxn ang="T121">
                        <a:pos x="T74" y="T75"/>
                      </a:cxn>
                      <a:cxn ang="T122">
                        <a:pos x="T76" y="T77"/>
                      </a:cxn>
                      <a:cxn ang="T123">
                        <a:pos x="T78" y="T79"/>
                      </a:cxn>
                      <a:cxn ang="T124">
                        <a:pos x="T80" y="T81"/>
                      </a:cxn>
                      <a:cxn ang="T125">
                        <a:pos x="T82" y="T83"/>
                      </a:cxn>
                    </a:cxnLst>
                    <a:rect l="0" t="0" r="r" b="b"/>
                    <a:pathLst>
                      <a:path w="1229" h="1201">
                        <a:moveTo>
                          <a:pt x="248" y="1115"/>
                        </a:moveTo>
                        <a:lnTo>
                          <a:pt x="314" y="1200"/>
                        </a:lnTo>
                        <a:lnTo>
                          <a:pt x="875" y="1175"/>
                        </a:lnTo>
                        <a:lnTo>
                          <a:pt x="940" y="1139"/>
                        </a:lnTo>
                        <a:lnTo>
                          <a:pt x="967" y="1103"/>
                        </a:lnTo>
                        <a:lnTo>
                          <a:pt x="967" y="1054"/>
                        </a:lnTo>
                        <a:lnTo>
                          <a:pt x="980" y="1018"/>
                        </a:lnTo>
                        <a:lnTo>
                          <a:pt x="980" y="945"/>
                        </a:lnTo>
                        <a:lnTo>
                          <a:pt x="1006" y="921"/>
                        </a:lnTo>
                        <a:lnTo>
                          <a:pt x="1019" y="836"/>
                        </a:lnTo>
                        <a:lnTo>
                          <a:pt x="1058" y="800"/>
                        </a:lnTo>
                        <a:lnTo>
                          <a:pt x="1110" y="751"/>
                        </a:lnTo>
                        <a:lnTo>
                          <a:pt x="1137" y="727"/>
                        </a:lnTo>
                        <a:lnTo>
                          <a:pt x="1150" y="678"/>
                        </a:lnTo>
                        <a:lnTo>
                          <a:pt x="1163" y="630"/>
                        </a:lnTo>
                        <a:lnTo>
                          <a:pt x="1202" y="593"/>
                        </a:lnTo>
                        <a:lnTo>
                          <a:pt x="1215" y="545"/>
                        </a:lnTo>
                        <a:lnTo>
                          <a:pt x="1215" y="472"/>
                        </a:lnTo>
                        <a:lnTo>
                          <a:pt x="1228" y="424"/>
                        </a:lnTo>
                        <a:lnTo>
                          <a:pt x="1176" y="400"/>
                        </a:lnTo>
                        <a:lnTo>
                          <a:pt x="1110" y="400"/>
                        </a:lnTo>
                        <a:lnTo>
                          <a:pt x="1084" y="424"/>
                        </a:lnTo>
                        <a:lnTo>
                          <a:pt x="1058" y="448"/>
                        </a:lnTo>
                        <a:lnTo>
                          <a:pt x="1032" y="472"/>
                        </a:lnTo>
                        <a:lnTo>
                          <a:pt x="1019" y="496"/>
                        </a:lnTo>
                        <a:lnTo>
                          <a:pt x="1006" y="533"/>
                        </a:lnTo>
                        <a:lnTo>
                          <a:pt x="980" y="545"/>
                        </a:lnTo>
                        <a:lnTo>
                          <a:pt x="940" y="533"/>
                        </a:lnTo>
                        <a:lnTo>
                          <a:pt x="888" y="496"/>
                        </a:lnTo>
                        <a:lnTo>
                          <a:pt x="875" y="509"/>
                        </a:lnTo>
                        <a:lnTo>
                          <a:pt x="823" y="545"/>
                        </a:lnTo>
                        <a:lnTo>
                          <a:pt x="810" y="545"/>
                        </a:lnTo>
                        <a:lnTo>
                          <a:pt x="797" y="496"/>
                        </a:lnTo>
                        <a:lnTo>
                          <a:pt x="783" y="484"/>
                        </a:lnTo>
                        <a:lnTo>
                          <a:pt x="744" y="496"/>
                        </a:lnTo>
                        <a:lnTo>
                          <a:pt x="718" y="509"/>
                        </a:lnTo>
                        <a:lnTo>
                          <a:pt x="705" y="472"/>
                        </a:lnTo>
                        <a:lnTo>
                          <a:pt x="718" y="436"/>
                        </a:lnTo>
                        <a:lnTo>
                          <a:pt x="783" y="387"/>
                        </a:lnTo>
                        <a:lnTo>
                          <a:pt x="810" y="375"/>
                        </a:lnTo>
                        <a:lnTo>
                          <a:pt x="836" y="327"/>
                        </a:lnTo>
                        <a:lnTo>
                          <a:pt x="836" y="315"/>
                        </a:lnTo>
                        <a:lnTo>
                          <a:pt x="862" y="278"/>
                        </a:lnTo>
                        <a:lnTo>
                          <a:pt x="875" y="242"/>
                        </a:lnTo>
                        <a:lnTo>
                          <a:pt x="875" y="218"/>
                        </a:lnTo>
                        <a:lnTo>
                          <a:pt x="875" y="206"/>
                        </a:lnTo>
                        <a:lnTo>
                          <a:pt x="823" y="169"/>
                        </a:lnTo>
                        <a:lnTo>
                          <a:pt x="797" y="169"/>
                        </a:lnTo>
                        <a:lnTo>
                          <a:pt x="783" y="121"/>
                        </a:lnTo>
                        <a:lnTo>
                          <a:pt x="744" y="72"/>
                        </a:lnTo>
                        <a:lnTo>
                          <a:pt x="744" y="36"/>
                        </a:lnTo>
                        <a:lnTo>
                          <a:pt x="718" y="0"/>
                        </a:lnTo>
                        <a:lnTo>
                          <a:pt x="692" y="72"/>
                        </a:lnTo>
                        <a:lnTo>
                          <a:pt x="679" y="109"/>
                        </a:lnTo>
                        <a:lnTo>
                          <a:pt x="653" y="157"/>
                        </a:lnTo>
                        <a:lnTo>
                          <a:pt x="613" y="206"/>
                        </a:lnTo>
                        <a:lnTo>
                          <a:pt x="510" y="206"/>
                        </a:lnTo>
                        <a:lnTo>
                          <a:pt x="471" y="181"/>
                        </a:lnTo>
                        <a:lnTo>
                          <a:pt x="379" y="193"/>
                        </a:lnTo>
                        <a:lnTo>
                          <a:pt x="353" y="193"/>
                        </a:lnTo>
                        <a:lnTo>
                          <a:pt x="327" y="218"/>
                        </a:lnTo>
                        <a:lnTo>
                          <a:pt x="275" y="242"/>
                        </a:lnTo>
                        <a:lnTo>
                          <a:pt x="222" y="242"/>
                        </a:lnTo>
                        <a:lnTo>
                          <a:pt x="170" y="242"/>
                        </a:lnTo>
                        <a:lnTo>
                          <a:pt x="131" y="266"/>
                        </a:lnTo>
                        <a:lnTo>
                          <a:pt x="39" y="278"/>
                        </a:lnTo>
                        <a:lnTo>
                          <a:pt x="0" y="290"/>
                        </a:lnTo>
                        <a:lnTo>
                          <a:pt x="0" y="363"/>
                        </a:lnTo>
                        <a:lnTo>
                          <a:pt x="26" y="412"/>
                        </a:lnTo>
                        <a:lnTo>
                          <a:pt x="65" y="460"/>
                        </a:lnTo>
                        <a:lnTo>
                          <a:pt x="91" y="496"/>
                        </a:lnTo>
                        <a:lnTo>
                          <a:pt x="118" y="521"/>
                        </a:lnTo>
                        <a:lnTo>
                          <a:pt x="144" y="545"/>
                        </a:lnTo>
                        <a:lnTo>
                          <a:pt x="248" y="593"/>
                        </a:lnTo>
                        <a:lnTo>
                          <a:pt x="275" y="630"/>
                        </a:lnTo>
                        <a:lnTo>
                          <a:pt x="275" y="751"/>
                        </a:lnTo>
                        <a:lnTo>
                          <a:pt x="248" y="787"/>
                        </a:lnTo>
                        <a:lnTo>
                          <a:pt x="248" y="824"/>
                        </a:lnTo>
                        <a:lnTo>
                          <a:pt x="248" y="860"/>
                        </a:lnTo>
                        <a:lnTo>
                          <a:pt x="248" y="921"/>
                        </a:lnTo>
                        <a:lnTo>
                          <a:pt x="248" y="969"/>
                        </a:lnTo>
                        <a:lnTo>
                          <a:pt x="235" y="993"/>
                        </a:lnTo>
                        <a:lnTo>
                          <a:pt x="235" y="1018"/>
                        </a:lnTo>
                        <a:lnTo>
                          <a:pt x="248" y="1042"/>
                        </a:lnTo>
                        <a:lnTo>
                          <a:pt x="248" y="1115"/>
                        </a:lnTo>
                      </a:path>
                    </a:pathLst>
                  </a:custGeom>
                  <a:gradFill rotWithShape="1">
                    <a:gsLst>
                      <a:gs pos="0">
                        <a:srgbClr val="004D00"/>
                      </a:gs>
                      <a:gs pos="50000">
                        <a:srgbClr val="007300"/>
                      </a:gs>
                      <a:gs pos="100000">
                        <a:srgbClr val="008A00"/>
                      </a:gs>
                    </a:gsLst>
                    <a:lin ang="13500000" scaled="1"/>
                  </a:gradFill>
                  <a:ln w="12700" cap="rnd" cmpd="sng">
                    <a:solidFill>
                      <a:srgbClr val="A3F55D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629338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12" name="Freeform 112">
                    <a:extLst>
                      <a:ext uri="{FF2B5EF4-FFF2-40B4-BE49-F238E27FC236}">
                        <a16:creationId xmlns:a16="http://schemas.microsoft.com/office/drawing/2014/main" id="{64C00408-00C8-4F28-8DC7-3066C89453B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476895" y="3214836"/>
                    <a:ext cx="865187" cy="808038"/>
                  </a:xfrm>
                  <a:custGeom>
                    <a:avLst/>
                    <a:gdLst>
                      <a:gd name="T0" fmla="*/ 39079 w 575"/>
                      <a:gd name="T1" fmla="*/ 420112 h 559"/>
                      <a:gd name="T2" fmla="*/ 117236 w 575"/>
                      <a:gd name="T3" fmla="*/ 385464 h 559"/>
                      <a:gd name="T4" fmla="*/ 136776 w 575"/>
                      <a:gd name="T5" fmla="*/ 368140 h 559"/>
                      <a:gd name="T6" fmla="*/ 195394 w 575"/>
                      <a:gd name="T7" fmla="*/ 402788 h 559"/>
                      <a:gd name="T8" fmla="*/ 214933 w 575"/>
                      <a:gd name="T9" fmla="*/ 489409 h 559"/>
                      <a:gd name="T10" fmla="*/ 294594 w 575"/>
                      <a:gd name="T11" fmla="*/ 525501 h 559"/>
                      <a:gd name="T12" fmla="*/ 294594 w 575"/>
                      <a:gd name="T13" fmla="*/ 612123 h 559"/>
                      <a:gd name="T14" fmla="*/ 333673 w 575"/>
                      <a:gd name="T15" fmla="*/ 665539 h 559"/>
                      <a:gd name="T16" fmla="*/ 529066 w 575"/>
                      <a:gd name="T17" fmla="*/ 646771 h 559"/>
                      <a:gd name="T18" fmla="*/ 529066 w 575"/>
                      <a:gd name="T19" fmla="*/ 665539 h 559"/>
                      <a:gd name="T20" fmla="*/ 568145 w 575"/>
                      <a:gd name="T21" fmla="*/ 700187 h 559"/>
                      <a:gd name="T22" fmla="*/ 646303 w 575"/>
                      <a:gd name="T23" fmla="*/ 717512 h 559"/>
                      <a:gd name="T24" fmla="*/ 744000 w 575"/>
                      <a:gd name="T25" fmla="*/ 769484 h 559"/>
                      <a:gd name="T26" fmla="*/ 763539 w 575"/>
                      <a:gd name="T27" fmla="*/ 805576 h 559"/>
                      <a:gd name="T28" fmla="*/ 763539 w 575"/>
                      <a:gd name="T29" fmla="*/ 769484 h 559"/>
                      <a:gd name="T30" fmla="*/ 804121 w 575"/>
                      <a:gd name="T31" fmla="*/ 769484 h 559"/>
                      <a:gd name="T32" fmla="*/ 804121 w 575"/>
                      <a:gd name="T33" fmla="*/ 700187 h 559"/>
                      <a:gd name="T34" fmla="*/ 804121 w 575"/>
                      <a:gd name="T35" fmla="*/ 646771 h 559"/>
                      <a:gd name="T36" fmla="*/ 843200 w 575"/>
                      <a:gd name="T37" fmla="*/ 577474 h 559"/>
                      <a:gd name="T38" fmla="*/ 862739 w 575"/>
                      <a:gd name="T39" fmla="*/ 489409 h 559"/>
                      <a:gd name="T40" fmla="*/ 823660 w 575"/>
                      <a:gd name="T41" fmla="*/ 402788 h 559"/>
                      <a:gd name="T42" fmla="*/ 744000 w 575"/>
                      <a:gd name="T43" fmla="*/ 297399 h 559"/>
                      <a:gd name="T44" fmla="*/ 704921 w 575"/>
                      <a:gd name="T45" fmla="*/ 262751 h 559"/>
                      <a:gd name="T46" fmla="*/ 685381 w 575"/>
                      <a:gd name="T47" fmla="*/ 228102 h 559"/>
                      <a:gd name="T48" fmla="*/ 685381 w 575"/>
                      <a:gd name="T49" fmla="*/ 140037 h 559"/>
                      <a:gd name="T50" fmla="*/ 646303 w 575"/>
                      <a:gd name="T51" fmla="*/ 105389 h 559"/>
                      <a:gd name="T52" fmla="*/ 607224 w 575"/>
                      <a:gd name="T53" fmla="*/ 122713 h 559"/>
                      <a:gd name="T54" fmla="*/ 607224 w 575"/>
                      <a:gd name="T55" fmla="*/ 70741 h 559"/>
                      <a:gd name="T56" fmla="*/ 568145 w 575"/>
                      <a:gd name="T57" fmla="*/ 51973 h 559"/>
                      <a:gd name="T58" fmla="*/ 529066 w 575"/>
                      <a:gd name="T59" fmla="*/ 51973 h 559"/>
                      <a:gd name="T60" fmla="*/ 468945 w 575"/>
                      <a:gd name="T61" fmla="*/ 17324 h 559"/>
                      <a:gd name="T62" fmla="*/ 429866 w 575"/>
                      <a:gd name="T63" fmla="*/ 0 h 559"/>
                      <a:gd name="T64" fmla="*/ 392291 w 575"/>
                      <a:gd name="T65" fmla="*/ 0 h 559"/>
                      <a:gd name="T66" fmla="*/ 333673 w 575"/>
                      <a:gd name="T67" fmla="*/ 17324 h 559"/>
                      <a:gd name="T68" fmla="*/ 255515 w 575"/>
                      <a:gd name="T69" fmla="*/ 51973 h 559"/>
                      <a:gd name="T70" fmla="*/ 255515 w 575"/>
                      <a:gd name="T71" fmla="*/ 88065 h 559"/>
                      <a:gd name="T72" fmla="*/ 214933 w 575"/>
                      <a:gd name="T73" fmla="*/ 88065 h 559"/>
                      <a:gd name="T74" fmla="*/ 156315 w 575"/>
                      <a:gd name="T75" fmla="*/ 140037 h 559"/>
                      <a:gd name="T76" fmla="*/ 136776 w 575"/>
                      <a:gd name="T77" fmla="*/ 157362 h 559"/>
                      <a:gd name="T78" fmla="*/ 97697 w 575"/>
                      <a:gd name="T79" fmla="*/ 192010 h 559"/>
                      <a:gd name="T80" fmla="*/ 19539 w 575"/>
                      <a:gd name="T81" fmla="*/ 245426 h 559"/>
                      <a:gd name="T82" fmla="*/ 0 w 575"/>
                      <a:gd name="T83" fmla="*/ 262751 h 559"/>
                      <a:gd name="T84" fmla="*/ 0 w 575"/>
                      <a:gd name="T85" fmla="*/ 314723 h 559"/>
                      <a:gd name="T86" fmla="*/ 39079 w 575"/>
                      <a:gd name="T87" fmla="*/ 420112 h 559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</a:gdLst>
                    <a:ahLst/>
                    <a:cxnLst>
                      <a:cxn ang="T88">
                        <a:pos x="T0" y="T1"/>
                      </a:cxn>
                      <a:cxn ang="T89">
                        <a:pos x="T2" y="T3"/>
                      </a:cxn>
                      <a:cxn ang="T90">
                        <a:pos x="T4" y="T5"/>
                      </a:cxn>
                      <a:cxn ang="T91">
                        <a:pos x="T6" y="T7"/>
                      </a:cxn>
                      <a:cxn ang="T92">
                        <a:pos x="T8" y="T9"/>
                      </a:cxn>
                      <a:cxn ang="T93">
                        <a:pos x="T10" y="T11"/>
                      </a:cxn>
                      <a:cxn ang="T94">
                        <a:pos x="T12" y="T13"/>
                      </a:cxn>
                      <a:cxn ang="T95">
                        <a:pos x="T14" y="T15"/>
                      </a:cxn>
                      <a:cxn ang="T96">
                        <a:pos x="T16" y="T17"/>
                      </a:cxn>
                      <a:cxn ang="T97">
                        <a:pos x="T18" y="T19"/>
                      </a:cxn>
                      <a:cxn ang="T98">
                        <a:pos x="T20" y="T21"/>
                      </a:cxn>
                      <a:cxn ang="T99">
                        <a:pos x="T22" y="T23"/>
                      </a:cxn>
                      <a:cxn ang="T100">
                        <a:pos x="T24" y="T25"/>
                      </a:cxn>
                      <a:cxn ang="T101">
                        <a:pos x="T26" y="T27"/>
                      </a:cxn>
                      <a:cxn ang="T102">
                        <a:pos x="T28" y="T29"/>
                      </a:cxn>
                      <a:cxn ang="T103">
                        <a:pos x="T30" y="T31"/>
                      </a:cxn>
                      <a:cxn ang="T104">
                        <a:pos x="T32" y="T33"/>
                      </a:cxn>
                      <a:cxn ang="T105">
                        <a:pos x="T34" y="T35"/>
                      </a:cxn>
                      <a:cxn ang="T106">
                        <a:pos x="T36" y="T37"/>
                      </a:cxn>
                      <a:cxn ang="T107">
                        <a:pos x="T38" y="T39"/>
                      </a:cxn>
                      <a:cxn ang="T108">
                        <a:pos x="T40" y="T41"/>
                      </a:cxn>
                      <a:cxn ang="T109">
                        <a:pos x="T42" y="T43"/>
                      </a:cxn>
                      <a:cxn ang="T110">
                        <a:pos x="T44" y="T45"/>
                      </a:cxn>
                      <a:cxn ang="T111">
                        <a:pos x="T46" y="T47"/>
                      </a:cxn>
                      <a:cxn ang="T112">
                        <a:pos x="T48" y="T49"/>
                      </a:cxn>
                      <a:cxn ang="T113">
                        <a:pos x="T50" y="T51"/>
                      </a:cxn>
                      <a:cxn ang="T114">
                        <a:pos x="T52" y="T53"/>
                      </a:cxn>
                      <a:cxn ang="T115">
                        <a:pos x="T54" y="T55"/>
                      </a:cxn>
                      <a:cxn ang="T116">
                        <a:pos x="T56" y="T57"/>
                      </a:cxn>
                      <a:cxn ang="T117">
                        <a:pos x="T58" y="T59"/>
                      </a:cxn>
                      <a:cxn ang="T118">
                        <a:pos x="T60" y="T61"/>
                      </a:cxn>
                      <a:cxn ang="T119">
                        <a:pos x="T62" y="T63"/>
                      </a:cxn>
                      <a:cxn ang="T120">
                        <a:pos x="T64" y="T65"/>
                      </a:cxn>
                      <a:cxn ang="T121">
                        <a:pos x="T66" y="T67"/>
                      </a:cxn>
                      <a:cxn ang="T122">
                        <a:pos x="T68" y="T69"/>
                      </a:cxn>
                      <a:cxn ang="T123">
                        <a:pos x="T70" y="T71"/>
                      </a:cxn>
                      <a:cxn ang="T124">
                        <a:pos x="T72" y="T73"/>
                      </a:cxn>
                      <a:cxn ang="T125">
                        <a:pos x="T74" y="T75"/>
                      </a:cxn>
                      <a:cxn ang="T126">
                        <a:pos x="T76" y="T77"/>
                      </a:cxn>
                      <a:cxn ang="T127">
                        <a:pos x="T78" y="T79"/>
                      </a:cxn>
                      <a:cxn ang="T128">
                        <a:pos x="T80" y="T81"/>
                      </a:cxn>
                      <a:cxn ang="T129">
                        <a:pos x="T82" y="T83"/>
                      </a:cxn>
                      <a:cxn ang="T130">
                        <a:pos x="T84" y="T85"/>
                      </a:cxn>
                      <a:cxn ang="T131">
                        <a:pos x="T86" y="T87"/>
                      </a:cxn>
                    </a:cxnLst>
                    <a:rect l="0" t="0" r="r" b="b"/>
                    <a:pathLst>
                      <a:path w="575" h="559">
                        <a:moveTo>
                          <a:pt x="26" y="291"/>
                        </a:moveTo>
                        <a:lnTo>
                          <a:pt x="78" y="267"/>
                        </a:lnTo>
                        <a:lnTo>
                          <a:pt x="91" y="255"/>
                        </a:lnTo>
                        <a:lnTo>
                          <a:pt x="130" y="279"/>
                        </a:lnTo>
                        <a:lnTo>
                          <a:pt x="143" y="339"/>
                        </a:lnTo>
                        <a:lnTo>
                          <a:pt x="196" y="364"/>
                        </a:lnTo>
                        <a:lnTo>
                          <a:pt x="196" y="424"/>
                        </a:lnTo>
                        <a:lnTo>
                          <a:pt x="222" y="461"/>
                        </a:lnTo>
                        <a:lnTo>
                          <a:pt x="352" y="448"/>
                        </a:lnTo>
                        <a:lnTo>
                          <a:pt x="352" y="461"/>
                        </a:lnTo>
                        <a:lnTo>
                          <a:pt x="378" y="485"/>
                        </a:lnTo>
                        <a:lnTo>
                          <a:pt x="430" y="497"/>
                        </a:lnTo>
                        <a:lnTo>
                          <a:pt x="495" y="533"/>
                        </a:lnTo>
                        <a:lnTo>
                          <a:pt x="508" y="558"/>
                        </a:lnTo>
                        <a:lnTo>
                          <a:pt x="508" y="533"/>
                        </a:lnTo>
                        <a:lnTo>
                          <a:pt x="535" y="533"/>
                        </a:lnTo>
                        <a:lnTo>
                          <a:pt x="535" y="485"/>
                        </a:lnTo>
                        <a:lnTo>
                          <a:pt x="535" y="448"/>
                        </a:lnTo>
                        <a:lnTo>
                          <a:pt x="561" y="400"/>
                        </a:lnTo>
                        <a:lnTo>
                          <a:pt x="574" y="339"/>
                        </a:lnTo>
                        <a:lnTo>
                          <a:pt x="548" y="279"/>
                        </a:lnTo>
                        <a:lnTo>
                          <a:pt x="495" y="206"/>
                        </a:lnTo>
                        <a:lnTo>
                          <a:pt x="469" y="182"/>
                        </a:lnTo>
                        <a:lnTo>
                          <a:pt x="456" y="158"/>
                        </a:lnTo>
                        <a:lnTo>
                          <a:pt x="456" y="97"/>
                        </a:lnTo>
                        <a:lnTo>
                          <a:pt x="430" y="73"/>
                        </a:lnTo>
                        <a:lnTo>
                          <a:pt x="404" y="85"/>
                        </a:lnTo>
                        <a:lnTo>
                          <a:pt x="404" y="49"/>
                        </a:lnTo>
                        <a:lnTo>
                          <a:pt x="378" y="36"/>
                        </a:lnTo>
                        <a:lnTo>
                          <a:pt x="352" y="36"/>
                        </a:lnTo>
                        <a:lnTo>
                          <a:pt x="312" y="12"/>
                        </a:lnTo>
                        <a:lnTo>
                          <a:pt x="286" y="0"/>
                        </a:lnTo>
                        <a:lnTo>
                          <a:pt x="261" y="0"/>
                        </a:lnTo>
                        <a:lnTo>
                          <a:pt x="222" y="12"/>
                        </a:lnTo>
                        <a:lnTo>
                          <a:pt x="170" y="36"/>
                        </a:lnTo>
                        <a:lnTo>
                          <a:pt x="170" y="61"/>
                        </a:lnTo>
                        <a:lnTo>
                          <a:pt x="143" y="61"/>
                        </a:lnTo>
                        <a:lnTo>
                          <a:pt x="104" y="97"/>
                        </a:lnTo>
                        <a:lnTo>
                          <a:pt x="91" y="109"/>
                        </a:lnTo>
                        <a:lnTo>
                          <a:pt x="65" y="133"/>
                        </a:lnTo>
                        <a:lnTo>
                          <a:pt x="13" y="170"/>
                        </a:lnTo>
                        <a:lnTo>
                          <a:pt x="0" y="182"/>
                        </a:lnTo>
                        <a:lnTo>
                          <a:pt x="0" y="218"/>
                        </a:lnTo>
                        <a:lnTo>
                          <a:pt x="26" y="291"/>
                        </a:lnTo>
                      </a:path>
                    </a:pathLst>
                  </a:custGeom>
                  <a:solidFill>
                    <a:srgbClr val="6DA400"/>
                  </a:solidFill>
                  <a:ln w="3175" cap="rnd" cmpd="sng">
                    <a:solidFill>
                      <a:srgbClr val="4D4D4D"/>
                    </a:solidFill>
                    <a:round/>
                    <a:headEnd type="none" w="sm" len="sm"/>
                    <a:tailEnd type="stealth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2E2E2E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13" name="Freeform 113">
                    <a:extLst>
                      <a:ext uri="{FF2B5EF4-FFF2-40B4-BE49-F238E27FC236}">
                        <a16:creationId xmlns:a16="http://schemas.microsoft.com/office/drawing/2014/main" id="{87286353-D604-4CAC-AEF6-ACB22005D7D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505470" y="3252936"/>
                    <a:ext cx="865187" cy="808038"/>
                  </a:xfrm>
                  <a:custGeom>
                    <a:avLst/>
                    <a:gdLst>
                      <a:gd name="T0" fmla="*/ 39079 w 575"/>
                      <a:gd name="T1" fmla="*/ 420112 h 559"/>
                      <a:gd name="T2" fmla="*/ 117236 w 575"/>
                      <a:gd name="T3" fmla="*/ 385464 h 559"/>
                      <a:gd name="T4" fmla="*/ 136776 w 575"/>
                      <a:gd name="T5" fmla="*/ 368140 h 559"/>
                      <a:gd name="T6" fmla="*/ 195394 w 575"/>
                      <a:gd name="T7" fmla="*/ 402788 h 559"/>
                      <a:gd name="T8" fmla="*/ 214933 w 575"/>
                      <a:gd name="T9" fmla="*/ 489409 h 559"/>
                      <a:gd name="T10" fmla="*/ 294594 w 575"/>
                      <a:gd name="T11" fmla="*/ 525501 h 559"/>
                      <a:gd name="T12" fmla="*/ 294594 w 575"/>
                      <a:gd name="T13" fmla="*/ 612123 h 559"/>
                      <a:gd name="T14" fmla="*/ 333673 w 575"/>
                      <a:gd name="T15" fmla="*/ 665539 h 559"/>
                      <a:gd name="T16" fmla="*/ 529066 w 575"/>
                      <a:gd name="T17" fmla="*/ 646771 h 559"/>
                      <a:gd name="T18" fmla="*/ 529066 w 575"/>
                      <a:gd name="T19" fmla="*/ 665539 h 559"/>
                      <a:gd name="T20" fmla="*/ 568145 w 575"/>
                      <a:gd name="T21" fmla="*/ 700187 h 559"/>
                      <a:gd name="T22" fmla="*/ 646303 w 575"/>
                      <a:gd name="T23" fmla="*/ 717512 h 559"/>
                      <a:gd name="T24" fmla="*/ 744000 w 575"/>
                      <a:gd name="T25" fmla="*/ 769484 h 559"/>
                      <a:gd name="T26" fmla="*/ 763539 w 575"/>
                      <a:gd name="T27" fmla="*/ 805576 h 559"/>
                      <a:gd name="T28" fmla="*/ 763539 w 575"/>
                      <a:gd name="T29" fmla="*/ 769484 h 559"/>
                      <a:gd name="T30" fmla="*/ 804121 w 575"/>
                      <a:gd name="T31" fmla="*/ 769484 h 559"/>
                      <a:gd name="T32" fmla="*/ 804121 w 575"/>
                      <a:gd name="T33" fmla="*/ 700187 h 559"/>
                      <a:gd name="T34" fmla="*/ 804121 w 575"/>
                      <a:gd name="T35" fmla="*/ 646771 h 559"/>
                      <a:gd name="T36" fmla="*/ 843200 w 575"/>
                      <a:gd name="T37" fmla="*/ 577474 h 559"/>
                      <a:gd name="T38" fmla="*/ 862739 w 575"/>
                      <a:gd name="T39" fmla="*/ 489409 h 559"/>
                      <a:gd name="T40" fmla="*/ 823660 w 575"/>
                      <a:gd name="T41" fmla="*/ 402788 h 559"/>
                      <a:gd name="T42" fmla="*/ 744000 w 575"/>
                      <a:gd name="T43" fmla="*/ 297399 h 559"/>
                      <a:gd name="T44" fmla="*/ 704921 w 575"/>
                      <a:gd name="T45" fmla="*/ 262751 h 559"/>
                      <a:gd name="T46" fmla="*/ 685381 w 575"/>
                      <a:gd name="T47" fmla="*/ 228102 h 559"/>
                      <a:gd name="T48" fmla="*/ 685381 w 575"/>
                      <a:gd name="T49" fmla="*/ 140037 h 559"/>
                      <a:gd name="T50" fmla="*/ 646303 w 575"/>
                      <a:gd name="T51" fmla="*/ 105389 h 559"/>
                      <a:gd name="T52" fmla="*/ 607224 w 575"/>
                      <a:gd name="T53" fmla="*/ 122713 h 559"/>
                      <a:gd name="T54" fmla="*/ 607224 w 575"/>
                      <a:gd name="T55" fmla="*/ 70741 h 559"/>
                      <a:gd name="T56" fmla="*/ 568145 w 575"/>
                      <a:gd name="T57" fmla="*/ 51973 h 559"/>
                      <a:gd name="T58" fmla="*/ 529066 w 575"/>
                      <a:gd name="T59" fmla="*/ 51973 h 559"/>
                      <a:gd name="T60" fmla="*/ 468945 w 575"/>
                      <a:gd name="T61" fmla="*/ 17324 h 559"/>
                      <a:gd name="T62" fmla="*/ 429866 w 575"/>
                      <a:gd name="T63" fmla="*/ 0 h 559"/>
                      <a:gd name="T64" fmla="*/ 392291 w 575"/>
                      <a:gd name="T65" fmla="*/ 0 h 559"/>
                      <a:gd name="T66" fmla="*/ 333673 w 575"/>
                      <a:gd name="T67" fmla="*/ 17324 h 559"/>
                      <a:gd name="T68" fmla="*/ 255515 w 575"/>
                      <a:gd name="T69" fmla="*/ 51973 h 559"/>
                      <a:gd name="T70" fmla="*/ 255515 w 575"/>
                      <a:gd name="T71" fmla="*/ 88065 h 559"/>
                      <a:gd name="T72" fmla="*/ 214933 w 575"/>
                      <a:gd name="T73" fmla="*/ 88065 h 559"/>
                      <a:gd name="T74" fmla="*/ 156315 w 575"/>
                      <a:gd name="T75" fmla="*/ 140037 h 559"/>
                      <a:gd name="T76" fmla="*/ 136776 w 575"/>
                      <a:gd name="T77" fmla="*/ 157362 h 559"/>
                      <a:gd name="T78" fmla="*/ 97697 w 575"/>
                      <a:gd name="T79" fmla="*/ 192010 h 559"/>
                      <a:gd name="T80" fmla="*/ 19539 w 575"/>
                      <a:gd name="T81" fmla="*/ 245426 h 559"/>
                      <a:gd name="T82" fmla="*/ 0 w 575"/>
                      <a:gd name="T83" fmla="*/ 262751 h 559"/>
                      <a:gd name="T84" fmla="*/ 0 w 575"/>
                      <a:gd name="T85" fmla="*/ 314723 h 559"/>
                      <a:gd name="T86" fmla="*/ 39079 w 575"/>
                      <a:gd name="T87" fmla="*/ 420112 h 559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</a:gdLst>
                    <a:ahLst/>
                    <a:cxnLst>
                      <a:cxn ang="T88">
                        <a:pos x="T0" y="T1"/>
                      </a:cxn>
                      <a:cxn ang="T89">
                        <a:pos x="T2" y="T3"/>
                      </a:cxn>
                      <a:cxn ang="T90">
                        <a:pos x="T4" y="T5"/>
                      </a:cxn>
                      <a:cxn ang="T91">
                        <a:pos x="T6" y="T7"/>
                      </a:cxn>
                      <a:cxn ang="T92">
                        <a:pos x="T8" y="T9"/>
                      </a:cxn>
                      <a:cxn ang="T93">
                        <a:pos x="T10" y="T11"/>
                      </a:cxn>
                      <a:cxn ang="T94">
                        <a:pos x="T12" y="T13"/>
                      </a:cxn>
                      <a:cxn ang="T95">
                        <a:pos x="T14" y="T15"/>
                      </a:cxn>
                      <a:cxn ang="T96">
                        <a:pos x="T16" y="T17"/>
                      </a:cxn>
                      <a:cxn ang="T97">
                        <a:pos x="T18" y="T19"/>
                      </a:cxn>
                      <a:cxn ang="T98">
                        <a:pos x="T20" y="T21"/>
                      </a:cxn>
                      <a:cxn ang="T99">
                        <a:pos x="T22" y="T23"/>
                      </a:cxn>
                      <a:cxn ang="T100">
                        <a:pos x="T24" y="T25"/>
                      </a:cxn>
                      <a:cxn ang="T101">
                        <a:pos x="T26" y="T27"/>
                      </a:cxn>
                      <a:cxn ang="T102">
                        <a:pos x="T28" y="T29"/>
                      </a:cxn>
                      <a:cxn ang="T103">
                        <a:pos x="T30" y="T31"/>
                      </a:cxn>
                      <a:cxn ang="T104">
                        <a:pos x="T32" y="T33"/>
                      </a:cxn>
                      <a:cxn ang="T105">
                        <a:pos x="T34" y="T35"/>
                      </a:cxn>
                      <a:cxn ang="T106">
                        <a:pos x="T36" y="T37"/>
                      </a:cxn>
                      <a:cxn ang="T107">
                        <a:pos x="T38" y="T39"/>
                      </a:cxn>
                      <a:cxn ang="T108">
                        <a:pos x="T40" y="T41"/>
                      </a:cxn>
                      <a:cxn ang="T109">
                        <a:pos x="T42" y="T43"/>
                      </a:cxn>
                      <a:cxn ang="T110">
                        <a:pos x="T44" y="T45"/>
                      </a:cxn>
                      <a:cxn ang="T111">
                        <a:pos x="T46" y="T47"/>
                      </a:cxn>
                      <a:cxn ang="T112">
                        <a:pos x="T48" y="T49"/>
                      </a:cxn>
                      <a:cxn ang="T113">
                        <a:pos x="T50" y="T51"/>
                      </a:cxn>
                      <a:cxn ang="T114">
                        <a:pos x="T52" y="T53"/>
                      </a:cxn>
                      <a:cxn ang="T115">
                        <a:pos x="T54" y="T55"/>
                      </a:cxn>
                      <a:cxn ang="T116">
                        <a:pos x="T56" y="T57"/>
                      </a:cxn>
                      <a:cxn ang="T117">
                        <a:pos x="T58" y="T59"/>
                      </a:cxn>
                      <a:cxn ang="T118">
                        <a:pos x="T60" y="T61"/>
                      </a:cxn>
                      <a:cxn ang="T119">
                        <a:pos x="T62" y="T63"/>
                      </a:cxn>
                      <a:cxn ang="T120">
                        <a:pos x="T64" y="T65"/>
                      </a:cxn>
                      <a:cxn ang="T121">
                        <a:pos x="T66" y="T67"/>
                      </a:cxn>
                      <a:cxn ang="T122">
                        <a:pos x="T68" y="T69"/>
                      </a:cxn>
                      <a:cxn ang="T123">
                        <a:pos x="T70" y="T71"/>
                      </a:cxn>
                      <a:cxn ang="T124">
                        <a:pos x="T72" y="T73"/>
                      </a:cxn>
                      <a:cxn ang="T125">
                        <a:pos x="T74" y="T75"/>
                      </a:cxn>
                      <a:cxn ang="T126">
                        <a:pos x="T76" y="T77"/>
                      </a:cxn>
                      <a:cxn ang="T127">
                        <a:pos x="T78" y="T79"/>
                      </a:cxn>
                      <a:cxn ang="T128">
                        <a:pos x="T80" y="T81"/>
                      </a:cxn>
                      <a:cxn ang="T129">
                        <a:pos x="T82" y="T83"/>
                      </a:cxn>
                      <a:cxn ang="T130">
                        <a:pos x="T84" y="T85"/>
                      </a:cxn>
                      <a:cxn ang="T131">
                        <a:pos x="T86" y="T87"/>
                      </a:cxn>
                    </a:cxnLst>
                    <a:rect l="0" t="0" r="r" b="b"/>
                    <a:pathLst>
                      <a:path w="575" h="559">
                        <a:moveTo>
                          <a:pt x="26" y="291"/>
                        </a:moveTo>
                        <a:lnTo>
                          <a:pt x="78" y="267"/>
                        </a:lnTo>
                        <a:lnTo>
                          <a:pt x="91" y="255"/>
                        </a:lnTo>
                        <a:lnTo>
                          <a:pt x="130" y="279"/>
                        </a:lnTo>
                        <a:lnTo>
                          <a:pt x="143" y="339"/>
                        </a:lnTo>
                        <a:lnTo>
                          <a:pt x="196" y="364"/>
                        </a:lnTo>
                        <a:lnTo>
                          <a:pt x="196" y="424"/>
                        </a:lnTo>
                        <a:lnTo>
                          <a:pt x="222" y="461"/>
                        </a:lnTo>
                        <a:lnTo>
                          <a:pt x="352" y="448"/>
                        </a:lnTo>
                        <a:lnTo>
                          <a:pt x="352" y="461"/>
                        </a:lnTo>
                        <a:lnTo>
                          <a:pt x="378" y="485"/>
                        </a:lnTo>
                        <a:lnTo>
                          <a:pt x="430" y="497"/>
                        </a:lnTo>
                        <a:lnTo>
                          <a:pt x="495" y="533"/>
                        </a:lnTo>
                        <a:lnTo>
                          <a:pt x="508" y="558"/>
                        </a:lnTo>
                        <a:lnTo>
                          <a:pt x="508" y="533"/>
                        </a:lnTo>
                        <a:lnTo>
                          <a:pt x="535" y="533"/>
                        </a:lnTo>
                        <a:lnTo>
                          <a:pt x="535" y="485"/>
                        </a:lnTo>
                        <a:lnTo>
                          <a:pt x="535" y="448"/>
                        </a:lnTo>
                        <a:lnTo>
                          <a:pt x="561" y="400"/>
                        </a:lnTo>
                        <a:lnTo>
                          <a:pt x="574" y="339"/>
                        </a:lnTo>
                        <a:lnTo>
                          <a:pt x="548" y="279"/>
                        </a:lnTo>
                        <a:lnTo>
                          <a:pt x="495" y="206"/>
                        </a:lnTo>
                        <a:lnTo>
                          <a:pt x="469" y="182"/>
                        </a:lnTo>
                        <a:lnTo>
                          <a:pt x="456" y="158"/>
                        </a:lnTo>
                        <a:lnTo>
                          <a:pt x="456" y="97"/>
                        </a:lnTo>
                        <a:lnTo>
                          <a:pt x="430" y="73"/>
                        </a:lnTo>
                        <a:lnTo>
                          <a:pt x="404" y="85"/>
                        </a:lnTo>
                        <a:lnTo>
                          <a:pt x="404" y="49"/>
                        </a:lnTo>
                        <a:lnTo>
                          <a:pt x="378" y="36"/>
                        </a:lnTo>
                        <a:lnTo>
                          <a:pt x="352" y="36"/>
                        </a:lnTo>
                        <a:lnTo>
                          <a:pt x="312" y="12"/>
                        </a:lnTo>
                        <a:lnTo>
                          <a:pt x="286" y="0"/>
                        </a:lnTo>
                        <a:lnTo>
                          <a:pt x="261" y="0"/>
                        </a:lnTo>
                        <a:lnTo>
                          <a:pt x="222" y="12"/>
                        </a:lnTo>
                        <a:lnTo>
                          <a:pt x="170" y="36"/>
                        </a:lnTo>
                        <a:lnTo>
                          <a:pt x="170" y="61"/>
                        </a:lnTo>
                        <a:lnTo>
                          <a:pt x="143" y="61"/>
                        </a:lnTo>
                        <a:lnTo>
                          <a:pt x="104" y="97"/>
                        </a:lnTo>
                        <a:lnTo>
                          <a:pt x="91" y="109"/>
                        </a:lnTo>
                        <a:lnTo>
                          <a:pt x="65" y="133"/>
                        </a:lnTo>
                        <a:lnTo>
                          <a:pt x="13" y="170"/>
                        </a:lnTo>
                        <a:lnTo>
                          <a:pt x="0" y="182"/>
                        </a:lnTo>
                        <a:lnTo>
                          <a:pt x="0" y="218"/>
                        </a:lnTo>
                        <a:lnTo>
                          <a:pt x="26" y="291"/>
                        </a:lnTo>
                      </a:path>
                    </a:pathLst>
                  </a:custGeom>
                  <a:gradFill rotWithShape="1">
                    <a:gsLst>
                      <a:gs pos="0">
                        <a:srgbClr val="004D00"/>
                      </a:gs>
                      <a:gs pos="50000">
                        <a:srgbClr val="007300"/>
                      </a:gs>
                      <a:gs pos="100000">
                        <a:srgbClr val="008A00"/>
                      </a:gs>
                    </a:gsLst>
                    <a:lin ang="13500000" scaled="1"/>
                  </a:gradFill>
                  <a:ln w="12700" cap="rnd" cmpd="sng">
                    <a:solidFill>
                      <a:srgbClr val="A3F55D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629338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14" name="Freeform 114">
                    <a:extLst>
                      <a:ext uri="{FF2B5EF4-FFF2-40B4-BE49-F238E27FC236}">
                        <a16:creationId xmlns:a16="http://schemas.microsoft.com/office/drawing/2014/main" id="{47359501-2E65-4A66-B2F5-05E11FB2CF4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59782" y="2441724"/>
                    <a:ext cx="674688" cy="976312"/>
                  </a:xfrm>
                  <a:custGeom>
                    <a:avLst/>
                    <a:gdLst>
                      <a:gd name="T0" fmla="*/ 139262 w 446"/>
                      <a:gd name="T1" fmla="*/ 975035 h 679"/>
                      <a:gd name="T2" fmla="*/ 296690 w 446"/>
                      <a:gd name="T3" fmla="*/ 906006 h 679"/>
                      <a:gd name="T4" fmla="*/ 355725 w 446"/>
                      <a:gd name="T5" fmla="*/ 818281 h 679"/>
                      <a:gd name="T6" fmla="*/ 435952 w 446"/>
                      <a:gd name="T7" fmla="*/ 714738 h 679"/>
                      <a:gd name="T8" fmla="*/ 514665 w 446"/>
                      <a:gd name="T9" fmla="*/ 678785 h 679"/>
                      <a:gd name="T10" fmla="*/ 593379 w 446"/>
                      <a:gd name="T11" fmla="*/ 661528 h 679"/>
                      <a:gd name="T12" fmla="*/ 653928 w 446"/>
                      <a:gd name="T13" fmla="*/ 575242 h 679"/>
                      <a:gd name="T14" fmla="*/ 673606 w 446"/>
                      <a:gd name="T15" fmla="*/ 487517 h 679"/>
                      <a:gd name="T16" fmla="*/ 673606 w 446"/>
                      <a:gd name="T17" fmla="*/ 399793 h 679"/>
                      <a:gd name="T18" fmla="*/ 634250 w 446"/>
                      <a:gd name="T19" fmla="*/ 313507 h 679"/>
                      <a:gd name="T20" fmla="*/ 634250 w 446"/>
                      <a:gd name="T21" fmla="*/ 225782 h 679"/>
                      <a:gd name="T22" fmla="*/ 673606 w 446"/>
                      <a:gd name="T23" fmla="*/ 86286 h 679"/>
                      <a:gd name="T24" fmla="*/ 613057 w 446"/>
                      <a:gd name="T25" fmla="*/ 0 h 679"/>
                      <a:gd name="T26" fmla="*/ 554022 w 446"/>
                      <a:gd name="T27" fmla="*/ 0 h 679"/>
                      <a:gd name="T28" fmla="*/ 494987 w 446"/>
                      <a:gd name="T29" fmla="*/ 17257 h 679"/>
                      <a:gd name="T30" fmla="*/ 416274 w 446"/>
                      <a:gd name="T31" fmla="*/ 86286 h 679"/>
                      <a:gd name="T32" fmla="*/ 376917 w 446"/>
                      <a:gd name="T33" fmla="*/ 156753 h 679"/>
                      <a:gd name="T34" fmla="*/ 355725 w 446"/>
                      <a:gd name="T35" fmla="*/ 191268 h 679"/>
                      <a:gd name="T36" fmla="*/ 336046 w 446"/>
                      <a:gd name="T37" fmla="*/ 243040 h 679"/>
                      <a:gd name="T38" fmla="*/ 316368 w 446"/>
                      <a:gd name="T39" fmla="*/ 278992 h 679"/>
                      <a:gd name="T40" fmla="*/ 355725 w 446"/>
                      <a:gd name="T41" fmla="*/ 348021 h 679"/>
                      <a:gd name="T42" fmla="*/ 316368 w 446"/>
                      <a:gd name="T43" fmla="*/ 365279 h 679"/>
                      <a:gd name="T44" fmla="*/ 296690 w 446"/>
                      <a:gd name="T45" fmla="*/ 435746 h 679"/>
                      <a:gd name="T46" fmla="*/ 198298 w 446"/>
                      <a:gd name="T47" fmla="*/ 504775 h 679"/>
                      <a:gd name="T48" fmla="*/ 119584 w 446"/>
                      <a:gd name="T49" fmla="*/ 556546 h 679"/>
                      <a:gd name="T50" fmla="*/ 78714 w 446"/>
                      <a:gd name="T51" fmla="*/ 575242 h 679"/>
                      <a:gd name="T52" fmla="*/ 39357 w 446"/>
                      <a:gd name="T53" fmla="*/ 661528 h 679"/>
                      <a:gd name="T54" fmla="*/ 19678 w 446"/>
                      <a:gd name="T55" fmla="*/ 714738 h 679"/>
                      <a:gd name="T56" fmla="*/ 0 w 446"/>
                      <a:gd name="T57" fmla="*/ 766510 h 679"/>
                      <a:gd name="T58" fmla="*/ 19678 w 446"/>
                      <a:gd name="T59" fmla="*/ 835539 h 679"/>
                      <a:gd name="T60" fmla="*/ 39357 w 446"/>
                      <a:gd name="T61" fmla="*/ 835539 h 679"/>
                      <a:gd name="T62" fmla="*/ 39357 w 446"/>
                      <a:gd name="T63" fmla="*/ 906006 h 679"/>
                      <a:gd name="T64" fmla="*/ 139262 w 446"/>
                      <a:gd name="T65" fmla="*/ 975035 h 679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0" t="0" r="r" b="b"/>
                    <a:pathLst>
                      <a:path w="446" h="679">
                        <a:moveTo>
                          <a:pt x="92" y="678"/>
                        </a:moveTo>
                        <a:lnTo>
                          <a:pt x="196" y="630"/>
                        </a:lnTo>
                        <a:lnTo>
                          <a:pt x="235" y="569"/>
                        </a:lnTo>
                        <a:lnTo>
                          <a:pt x="288" y="497"/>
                        </a:lnTo>
                        <a:lnTo>
                          <a:pt x="340" y="472"/>
                        </a:lnTo>
                        <a:lnTo>
                          <a:pt x="392" y="460"/>
                        </a:lnTo>
                        <a:lnTo>
                          <a:pt x="432" y="400"/>
                        </a:lnTo>
                        <a:lnTo>
                          <a:pt x="445" y="339"/>
                        </a:lnTo>
                        <a:lnTo>
                          <a:pt x="445" y="278"/>
                        </a:lnTo>
                        <a:lnTo>
                          <a:pt x="419" y="218"/>
                        </a:lnTo>
                        <a:lnTo>
                          <a:pt x="419" y="157"/>
                        </a:lnTo>
                        <a:lnTo>
                          <a:pt x="445" y="60"/>
                        </a:lnTo>
                        <a:lnTo>
                          <a:pt x="405" y="0"/>
                        </a:lnTo>
                        <a:lnTo>
                          <a:pt x="366" y="0"/>
                        </a:lnTo>
                        <a:lnTo>
                          <a:pt x="327" y="12"/>
                        </a:lnTo>
                        <a:lnTo>
                          <a:pt x="275" y="60"/>
                        </a:lnTo>
                        <a:lnTo>
                          <a:pt x="249" y="109"/>
                        </a:lnTo>
                        <a:lnTo>
                          <a:pt x="235" y="133"/>
                        </a:lnTo>
                        <a:lnTo>
                          <a:pt x="222" y="169"/>
                        </a:lnTo>
                        <a:lnTo>
                          <a:pt x="209" y="194"/>
                        </a:lnTo>
                        <a:lnTo>
                          <a:pt x="235" y="242"/>
                        </a:lnTo>
                        <a:lnTo>
                          <a:pt x="209" y="254"/>
                        </a:lnTo>
                        <a:lnTo>
                          <a:pt x="196" y="303"/>
                        </a:lnTo>
                        <a:lnTo>
                          <a:pt x="131" y="351"/>
                        </a:lnTo>
                        <a:lnTo>
                          <a:pt x="79" y="387"/>
                        </a:lnTo>
                        <a:lnTo>
                          <a:pt x="52" y="400"/>
                        </a:lnTo>
                        <a:lnTo>
                          <a:pt x="26" y="460"/>
                        </a:lnTo>
                        <a:lnTo>
                          <a:pt x="13" y="497"/>
                        </a:lnTo>
                        <a:lnTo>
                          <a:pt x="0" y="533"/>
                        </a:lnTo>
                        <a:lnTo>
                          <a:pt x="13" y="581"/>
                        </a:lnTo>
                        <a:lnTo>
                          <a:pt x="26" y="581"/>
                        </a:lnTo>
                        <a:lnTo>
                          <a:pt x="26" y="630"/>
                        </a:lnTo>
                        <a:lnTo>
                          <a:pt x="92" y="678"/>
                        </a:lnTo>
                      </a:path>
                    </a:pathLst>
                  </a:custGeom>
                  <a:solidFill>
                    <a:srgbClr val="6DA400"/>
                  </a:solidFill>
                  <a:ln w="3175" cap="rnd" cmpd="sng">
                    <a:solidFill>
                      <a:srgbClr val="4D4D4D"/>
                    </a:solidFill>
                    <a:round/>
                    <a:headEnd type="none" w="sm" len="sm"/>
                    <a:tailEnd type="stealth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2E2E2E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15" name="Freeform 115">
                    <a:extLst>
                      <a:ext uri="{FF2B5EF4-FFF2-40B4-BE49-F238E27FC236}">
                        <a16:creationId xmlns:a16="http://schemas.microsoft.com/office/drawing/2014/main" id="{7341749A-BC3C-4B60-9F8C-AB4F4FEA8DE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59782" y="2441724"/>
                    <a:ext cx="674688" cy="976312"/>
                  </a:xfrm>
                  <a:custGeom>
                    <a:avLst/>
                    <a:gdLst>
                      <a:gd name="T0" fmla="*/ 139262 w 446"/>
                      <a:gd name="T1" fmla="*/ 975035 h 679"/>
                      <a:gd name="T2" fmla="*/ 296690 w 446"/>
                      <a:gd name="T3" fmla="*/ 906006 h 679"/>
                      <a:gd name="T4" fmla="*/ 355725 w 446"/>
                      <a:gd name="T5" fmla="*/ 818281 h 679"/>
                      <a:gd name="T6" fmla="*/ 435952 w 446"/>
                      <a:gd name="T7" fmla="*/ 714738 h 679"/>
                      <a:gd name="T8" fmla="*/ 514665 w 446"/>
                      <a:gd name="T9" fmla="*/ 678785 h 679"/>
                      <a:gd name="T10" fmla="*/ 593379 w 446"/>
                      <a:gd name="T11" fmla="*/ 661528 h 679"/>
                      <a:gd name="T12" fmla="*/ 653928 w 446"/>
                      <a:gd name="T13" fmla="*/ 575242 h 679"/>
                      <a:gd name="T14" fmla="*/ 673606 w 446"/>
                      <a:gd name="T15" fmla="*/ 487517 h 679"/>
                      <a:gd name="T16" fmla="*/ 673606 w 446"/>
                      <a:gd name="T17" fmla="*/ 399793 h 679"/>
                      <a:gd name="T18" fmla="*/ 634250 w 446"/>
                      <a:gd name="T19" fmla="*/ 313507 h 679"/>
                      <a:gd name="T20" fmla="*/ 634250 w 446"/>
                      <a:gd name="T21" fmla="*/ 225782 h 679"/>
                      <a:gd name="T22" fmla="*/ 673606 w 446"/>
                      <a:gd name="T23" fmla="*/ 86286 h 679"/>
                      <a:gd name="T24" fmla="*/ 613057 w 446"/>
                      <a:gd name="T25" fmla="*/ 0 h 679"/>
                      <a:gd name="T26" fmla="*/ 554022 w 446"/>
                      <a:gd name="T27" fmla="*/ 0 h 679"/>
                      <a:gd name="T28" fmla="*/ 494987 w 446"/>
                      <a:gd name="T29" fmla="*/ 17257 h 679"/>
                      <a:gd name="T30" fmla="*/ 416274 w 446"/>
                      <a:gd name="T31" fmla="*/ 86286 h 679"/>
                      <a:gd name="T32" fmla="*/ 376917 w 446"/>
                      <a:gd name="T33" fmla="*/ 156753 h 679"/>
                      <a:gd name="T34" fmla="*/ 355725 w 446"/>
                      <a:gd name="T35" fmla="*/ 191268 h 679"/>
                      <a:gd name="T36" fmla="*/ 336046 w 446"/>
                      <a:gd name="T37" fmla="*/ 243040 h 679"/>
                      <a:gd name="T38" fmla="*/ 316368 w 446"/>
                      <a:gd name="T39" fmla="*/ 278992 h 679"/>
                      <a:gd name="T40" fmla="*/ 355725 w 446"/>
                      <a:gd name="T41" fmla="*/ 348021 h 679"/>
                      <a:gd name="T42" fmla="*/ 316368 w 446"/>
                      <a:gd name="T43" fmla="*/ 365279 h 679"/>
                      <a:gd name="T44" fmla="*/ 296690 w 446"/>
                      <a:gd name="T45" fmla="*/ 435746 h 679"/>
                      <a:gd name="T46" fmla="*/ 198298 w 446"/>
                      <a:gd name="T47" fmla="*/ 504775 h 679"/>
                      <a:gd name="T48" fmla="*/ 119584 w 446"/>
                      <a:gd name="T49" fmla="*/ 556546 h 679"/>
                      <a:gd name="T50" fmla="*/ 78714 w 446"/>
                      <a:gd name="T51" fmla="*/ 575242 h 679"/>
                      <a:gd name="T52" fmla="*/ 39357 w 446"/>
                      <a:gd name="T53" fmla="*/ 661528 h 679"/>
                      <a:gd name="T54" fmla="*/ 19678 w 446"/>
                      <a:gd name="T55" fmla="*/ 714738 h 679"/>
                      <a:gd name="T56" fmla="*/ 0 w 446"/>
                      <a:gd name="T57" fmla="*/ 766510 h 679"/>
                      <a:gd name="T58" fmla="*/ 19678 w 446"/>
                      <a:gd name="T59" fmla="*/ 835539 h 679"/>
                      <a:gd name="T60" fmla="*/ 39357 w 446"/>
                      <a:gd name="T61" fmla="*/ 835539 h 679"/>
                      <a:gd name="T62" fmla="*/ 39357 w 446"/>
                      <a:gd name="T63" fmla="*/ 906006 h 679"/>
                      <a:gd name="T64" fmla="*/ 139262 w 446"/>
                      <a:gd name="T65" fmla="*/ 975035 h 679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0" t="0" r="r" b="b"/>
                    <a:pathLst>
                      <a:path w="446" h="679">
                        <a:moveTo>
                          <a:pt x="92" y="678"/>
                        </a:moveTo>
                        <a:lnTo>
                          <a:pt x="196" y="630"/>
                        </a:lnTo>
                        <a:lnTo>
                          <a:pt x="235" y="569"/>
                        </a:lnTo>
                        <a:lnTo>
                          <a:pt x="288" y="497"/>
                        </a:lnTo>
                        <a:lnTo>
                          <a:pt x="340" y="472"/>
                        </a:lnTo>
                        <a:lnTo>
                          <a:pt x="392" y="460"/>
                        </a:lnTo>
                        <a:lnTo>
                          <a:pt x="432" y="400"/>
                        </a:lnTo>
                        <a:lnTo>
                          <a:pt x="445" y="339"/>
                        </a:lnTo>
                        <a:lnTo>
                          <a:pt x="445" y="278"/>
                        </a:lnTo>
                        <a:lnTo>
                          <a:pt x="419" y="218"/>
                        </a:lnTo>
                        <a:lnTo>
                          <a:pt x="419" y="157"/>
                        </a:lnTo>
                        <a:lnTo>
                          <a:pt x="445" y="60"/>
                        </a:lnTo>
                        <a:lnTo>
                          <a:pt x="405" y="0"/>
                        </a:lnTo>
                        <a:lnTo>
                          <a:pt x="366" y="0"/>
                        </a:lnTo>
                        <a:lnTo>
                          <a:pt x="327" y="12"/>
                        </a:lnTo>
                        <a:lnTo>
                          <a:pt x="275" y="60"/>
                        </a:lnTo>
                        <a:lnTo>
                          <a:pt x="249" y="109"/>
                        </a:lnTo>
                        <a:lnTo>
                          <a:pt x="235" y="133"/>
                        </a:lnTo>
                        <a:lnTo>
                          <a:pt x="222" y="169"/>
                        </a:lnTo>
                        <a:lnTo>
                          <a:pt x="209" y="194"/>
                        </a:lnTo>
                        <a:lnTo>
                          <a:pt x="235" y="242"/>
                        </a:lnTo>
                        <a:lnTo>
                          <a:pt x="209" y="254"/>
                        </a:lnTo>
                        <a:lnTo>
                          <a:pt x="196" y="303"/>
                        </a:lnTo>
                        <a:lnTo>
                          <a:pt x="131" y="351"/>
                        </a:lnTo>
                        <a:lnTo>
                          <a:pt x="79" y="387"/>
                        </a:lnTo>
                        <a:lnTo>
                          <a:pt x="52" y="400"/>
                        </a:lnTo>
                        <a:lnTo>
                          <a:pt x="26" y="460"/>
                        </a:lnTo>
                        <a:lnTo>
                          <a:pt x="13" y="497"/>
                        </a:lnTo>
                        <a:lnTo>
                          <a:pt x="0" y="533"/>
                        </a:lnTo>
                        <a:lnTo>
                          <a:pt x="13" y="581"/>
                        </a:lnTo>
                        <a:lnTo>
                          <a:pt x="26" y="581"/>
                        </a:lnTo>
                        <a:lnTo>
                          <a:pt x="26" y="630"/>
                        </a:lnTo>
                        <a:lnTo>
                          <a:pt x="92" y="678"/>
                        </a:lnTo>
                      </a:path>
                    </a:pathLst>
                  </a:custGeom>
                  <a:gradFill rotWithShape="1">
                    <a:gsLst>
                      <a:gs pos="0">
                        <a:srgbClr val="004D00"/>
                      </a:gs>
                      <a:gs pos="50000">
                        <a:srgbClr val="007300"/>
                      </a:gs>
                      <a:gs pos="100000">
                        <a:srgbClr val="008A00"/>
                      </a:gs>
                    </a:gsLst>
                    <a:lin ang="13500000" scaled="1"/>
                  </a:gradFill>
                  <a:ln w="12700" cap="rnd" cmpd="sng">
                    <a:solidFill>
                      <a:srgbClr val="A3F55D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629338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16" name="Freeform 116">
                    <a:extLst>
                      <a:ext uri="{FF2B5EF4-FFF2-40B4-BE49-F238E27FC236}">
                        <a16:creationId xmlns:a16="http://schemas.microsoft.com/office/drawing/2014/main" id="{05F8B056-08DC-4BC5-A640-745ECF51D07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624407" y="1846411"/>
                    <a:ext cx="2255838" cy="1711325"/>
                  </a:xfrm>
                  <a:custGeom>
                    <a:avLst/>
                    <a:gdLst>
                      <a:gd name="T0" fmla="*/ 119547 w 1491"/>
                      <a:gd name="T1" fmla="*/ 1430788 h 1189"/>
                      <a:gd name="T2" fmla="*/ 316271 w 1491"/>
                      <a:gd name="T3" fmla="*/ 1518593 h 1189"/>
                      <a:gd name="T4" fmla="*/ 593196 w 1491"/>
                      <a:gd name="T5" fmla="*/ 1623671 h 1189"/>
                      <a:gd name="T6" fmla="*/ 910980 w 1491"/>
                      <a:gd name="T7" fmla="*/ 1623671 h 1189"/>
                      <a:gd name="T8" fmla="*/ 1106190 w 1491"/>
                      <a:gd name="T9" fmla="*/ 1501320 h 1189"/>
                      <a:gd name="T10" fmla="*/ 1304427 w 1491"/>
                      <a:gd name="T11" fmla="*/ 1378969 h 1189"/>
                      <a:gd name="T12" fmla="*/ 1502663 w 1491"/>
                      <a:gd name="T13" fmla="*/ 1449501 h 1189"/>
                      <a:gd name="T14" fmla="*/ 1759917 w 1491"/>
                      <a:gd name="T15" fmla="*/ 1535866 h 1189"/>
                      <a:gd name="T16" fmla="*/ 2056515 w 1491"/>
                      <a:gd name="T17" fmla="*/ 1466774 h 1189"/>
                      <a:gd name="T18" fmla="*/ 2195735 w 1491"/>
                      <a:gd name="T19" fmla="*/ 1273891 h 1189"/>
                      <a:gd name="T20" fmla="*/ 2195735 w 1491"/>
                      <a:gd name="T21" fmla="*/ 1134267 h 1189"/>
                      <a:gd name="T22" fmla="*/ 2215407 w 1491"/>
                      <a:gd name="T23" fmla="*/ 891004 h 1189"/>
                      <a:gd name="T24" fmla="*/ 2254752 w 1491"/>
                      <a:gd name="T25" fmla="*/ 611756 h 1189"/>
                      <a:gd name="T26" fmla="*/ 2076188 w 1491"/>
                      <a:gd name="T27" fmla="*/ 489404 h 1189"/>
                      <a:gd name="T28" fmla="*/ 1938481 w 1491"/>
                      <a:gd name="T29" fmla="*/ 349780 h 1189"/>
                      <a:gd name="T30" fmla="*/ 1799262 w 1491"/>
                      <a:gd name="T31" fmla="*/ 158337 h 1189"/>
                      <a:gd name="T32" fmla="*/ 1720572 w 1491"/>
                      <a:gd name="T33" fmla="*/ 192883 h 1189"/>
                      <a:gd name="T34" fmla="*/ 1620697 w 1491"/>
                      <a:gd name="T35" fmla="*/ 261975 h 1189"/>
                      <a:gd name="T36" fmla="*/ 1561680 w 1491"/>
                      <a:gd name="T37" fmla="*/ 454858 h 1189"/>
                      <a:gd name="T38" fmla="*/ 1443646 w 1491"/>
                      <a:gd name="T39" fmla="*/ 279248 h 1189"/>
                      <a:gd name="T40" fmla="*/ 1343772 w 1491"/>
                      <a:gd name="T41" fmla="*/ 210156 h 1189"/>
                      <a:gd name="T42" fmla="*/ 1245410 w 1491"/>
                      <a:gd name="T43" fmla="*/ 35986 h 1189"/>
                      <a:gd name="T44" fmla="*/ 1186393 w 1491"/>
                      <a:gd name="T45" fmla="*/ 87805 h 1189"/>
                      <a:gd name="T46" fmla="*/ 1029014 w 1491"/>
                      <a:gd name="T47" fmla="*/ 175610 h 1189"/>
                      <a:gd name="T48" fmla="*/ 910980 w 1491"/>
                      <a:gd name="T49" fmla="*/ 244702 h 1189"/>
                      <a:gd name="T50" fmla="*/ 771761 w 1491"/>
                      <a:gd name="T51" fmla="*/ 297961 h 1189"/>
                      <a:gd name="T52" fmla="*/ 732416 w 1491"/>
                      <a:gd name="T53" fmla="*/ 175610 h 1189"/>
                      <a:gd name="T54" fmla="*/ 357128 w 1491"/>
                      <a:gd name="T55" fmla="*/ 175610 h 1189"/>
                      <a:gd name="T56" fmla="*/ 376801 w 1491"/>
                      <a:gd name="T57" fmla="*/ 244702 h 1189"/>
                      <a:gd name="T58" fmla="*/ 396473 w 1491"/>
                      <a:gd name="T59" fmla="*/ 349780 h 1189"/>
                      <a:gd name="T60" fmla="*/ 396473 w 1491"/>
                      <a:gd name="T61" fmla="*/ 506678 h 1189"/>
                      <a:gd name="T62" fmla="*/ 455490 w 1491"/>
                      <a:gd name="T63" fmla="*/ 768653 h 1189"/>
                      <a:gd name="T64" fmla="*/ 396473 w 1491"/>
                      <a:gd name="T65" fmla="*/ 942823 h 1189"/>
                      <a:gd name="T66" fmla="*/ 316271 w 1491"/>
                      <a:gd name="T67" fmla="*/ 1047901 h 1189"/>
                      <a:gd name="T68" fmla="*/ 158892 w 1491"/>
                      <a:gd name="T69" fmla="*/ 1116994 h 1189"/>
                      <a:gd name="T70" fmla="*/ 0 w 1491"/>
                      <a:gd name="T71" fmla="*/ 1204798 h 1189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</a:gdLst>
                    <a:ahLst/>
                    <a:cxnLst>
                      <a:cxn ang="T72">
                        <a:pos x="T0" y="T1"/>
                      </a:cxn>
                      <a:cxn ang="T73">
                        <a:pos x="T2" y="T3"/>
                      </a:cxn>
                      <a:cxn ang="T74">
                        <a:pos x="T4" y="T5"/>
                      </a:cxn>
                      <a:cxn ang="T75">
                        <a:pos x="T6" y="T7"/>
                      </a:cxn>
                      <a:cxn ang="T76">
                        <a:pos x="T8" y="T9"/>
                      </a:cxn>
                      <a:cxn ang="T77">
                        <a:pos x="T10" y="T11"/>
                      </a:cxn>
                      <a:cxn ang="T78">
                        <a:pos x="T12" y="T13"/>
                      </a:cxn>
                      <a:cxn ang="T79">
                        <a:pos x="T14" y="T15"/>
                      </a:cxn>
                      <a:cxn ang="T80">
                        <a:pos x="T16" y="T17"/>
                      </a:cxn>
                      <a:cxn ang="T81">
                        <a:pos x="T18" y="T19"/>
                      </a:cxn>
                      <a:cxn ang="T82">
                        <a:pos x="T20" y="T21"/>
                      </a:cxn>
                      <a:cxn ang="T83">
                        <a:pos x="T22" y="T23"/>
                      </a:cxn>
                      <a:cxn ang="T84">
                        <a:pos x="T24" y="T25"/>
                      </a:cxn>
                      <a:cxn ang="T85">
                        <a:pos x="T26" y="T27"/>
                      </a:cxn>
                      <a:cxn ang="T86">
                        <a:pos x="T28" y="T29"/>
                      </a:cxn>
                      <a:cxn ang="T87">
                        <a:pos x="T30" y="T31"/>
                      </a:cxn>
                      <a:cxn ang="T88">
                        <a:pos x="T32" y="T33"/>
                      </a:cxn>
                      <a:cxn ang="T89">
                        <a:pos x="T34" y="T35"/>
                      </a:cxn>
                      <a:cxn ang="T90">
                        <a:pos x="T36" y="T37"/>
                      </a:cxn>
                      <a:cxn ang="T91">
                        <a:pos x="T38" y="T39"/>
                      </a:cxn>
                      <a:cxn ang="T92">
                        <a:pos x="T40" y="T41"/>
                      </a:cxn>
                      <a:cxn ang="T93">
                        <a:pos x="T42" y="T43"/>
                      </a:cxn>
                      <a:cxn ang="T94">
                        <a:pos x="T44" y="T45"/>
                      </a:cxn>
                      <a:cxn ang="T95">
                        <a:pos x="T46" y="T47"/>
                      </a:cxn>
                      <a:cxn ang="T96">
                        <a:pos x="T48" y="T49"/>
                      </a:cxn>
                      <a:cxn ang="T97">
                        <a:pos x="T50" y="T51"/>
                      </a:cxn>
                      <a:cxn ang="T98">
                        <a:pos x="T52" y="T53"/>
                      </a:cxn>
                      <a:cxn ang="T99">
                        <a:pos x="T54" y="T55"/>
                      </a:cxn>
                      <a:cxn ang="T100">
                        <a:pos x="T56" y="T57"/>
                      </a:cxn>
                      <a:cxn ang="T101">
                        <a:pos x="T58" y="T59"/>
                      </a:cxn>
                      <a:cxn ang="T102">
                        <a:pos x="T60" y="T61"/>
                      </a:cxn>
                      <a:cxn ang="T103">
                        <a:pos x="T62" y="T63"/>
                      </a:cxn>
                      <a:cxn ang="T104">
                        <a:pos x="T64" y="T65"/>
                      </a:cxn>
                      <a:cxn ang="T105">
                        <a:pos x="T66" y="T67"/>
                      </a:cxn>
                      <a:cxn ang="T106">
                        <a:pos x="T68" y="T69"/>
                      </a:cxn>
                      <a:cxn ang="T107">
                        <a:pos x="T70" y="T71"/>
                      </a:cxn>
                    </a:cxnLst>
                    <a:rect l="0" t="0" r="r" b="b"/>
                    <a:pathLst>
                      <a:path w="1491" h="1189">
                        <a:moveTo>
                          <a:pt x="0" y="958"/>
                        </a:moveTo>
                        <a:lnTo>
                          <a:pt x="79" y="994"/>
                        </a:lnTo>
                        <a:lnTo>
                          <a:pt x="131" y="994"/>
                        </a:lnTo>
                        <a:lnTo>
                          <a:pt x="209" y="1055"/>
                        </a:lnTo>
                        <a:lnTo>
                          <a:pt x="301" y="1091"/>
                        </a:lnTo>
                        <a:lnTo>
                          <a:pt x="392" y="1128"/>
                        </a:lnTo>
                        <a:lnTo>
                          <a:pt x="589" y="1188"/>
                        </a:lnTo>
                        <a:lnTo>
                          <a:pt x="602" y="1128"/>
                        </a:lnTo>
                        <a:lnTo>
                          <a:pt x="667" y="1091"/>
                        </a:lnTo>
                        <a:lnTo>
                          <a:pt x="731" y="1043"/>
                        </a:lnTo>
                        <a:lnTo>
                          <a:pt x="810" y="982"/>
                        </a:lnTo>
                        <a:lnTo>
                          <a:pt x="862" y="958"/>
                        </a:lnTo>
                        <a:lnTo>
                          <a:pt x="954" y="1007"/>
                        </a:lnTo>
                        <a:lnTo>
                          <a:pt x="993" y="1007"/>
                        </a:lnTo>
                        <a:lnTo>
                          <a:pt x="1006" y="1055"/>
                        </a:lnTo>
                        <a:lnTo>
                          <a:pt x="1163" y="1067"/>
                        </a:lnTo>
                        <a:lnTo>
                          <a:pt x="1228" y="1055"/>
                        </a:lnTo>
                        <a:lnTo>
                          <a:pt x="1359" y="1019"/>
                        </a:lnTo>
                        <a:lnTo>
                          <a:pt x="1477" y="970"/>
                        </a:lnTo>
                        <a:lnTo>
                          <a:pt x="1451" y="885"/>
                        </a:lnTo>
                        <a:lnTo>
                          <a:pt x="1451" y="849"/>
                        </a:lnTo>
                        <a:lnTo>
                          <a:pt x="1451" y="788"/>
                        </a:lnTo>
                        <a:lnTo>
                          <a:pt x="1464" y="716"/>
                        </a:lnTo>
                        <a:lnTo>
                          <a:pt x="1464" y="619"/>
                        </a:lnTo>
                        <a:lnTo>
                          <a:pt x="1490" y="497"/>
                        </a:lnTo>
                        <a:lnTo>
                          <a:pt x="1490" y="425"/>
                        </a:lnTo>
                        <a:lnTo>
                          <a:pt x="1438" y="376"/>
                        </a:lnTo>
                        <a:lnTo>
                          <a:pt x="1372" y="340"/>
                        </a:lnTo>
                        <a:lnTo>
                          <a:pt x="1307" y="291"/>
                        </a:lnTo>
                        <a:lnTo>
                          <a:pt x="1281" y="243"/>
                        </a:lnTo>
                        <a:lnTo>
                          <a:pt x="1215" y="194"/>
                        </a:lnTo>
                        <a:lnTo>
                          <a:pt x="1189" y="110"/>
                        </a:lnTo>
                        <a:lnTo>
                          <a:pt x="1189" y="85"/>
                        </a:lnTo>
                        <a:lnTo>
                          <a:pt x="1137" y="134"/>
                        </a:lnTo>
                        <a:lnTo>
                          <a:pt x="1124" y="170"/>
                        </a:lnTo>
                        <a:lnTo>
                          <a:pt x="1071" y="182"/>
                        </a:lnTo>
                        <a:lnTo>
                          <a:pt x="1058" y="231"/>
                        </a:lnTo>
                        <a:lnTo>
                          <a:pt x="1032" y="316"/>
                        </a:lnTo>
                        <a:lnTo>
                          <a:pt x="980" y="291"/>
                        </a:lnTo>
                        <a:lnTo>
                          <a:pt x="954" y="194"/>
                        </a:lnTo>
                        <a:lnTo>
                          <a:pt x="888" y="182"/>
                        </a:lnTo>
                        <a:lnTo>
                          <a:pt x="888" y="146"/>
                        </a:lnTo>
                        <a:lnTo>
                          <a:pt x="862" y="110"/>
                        </a:lnTo>
                        <a:lnTo>
                          <a:pt x="823" y="25"/>
                        </a:lnTo>
                        <a:lnTo>
                          <a:pt x="759" y="0"/>
                        </a:lnTo>
                        <a:lnTo>
                          <a:pt x="784" y="61"/>
                        </a:lnTo>
                        <a:lnTo>
                          <a:pt x="746" y="97"/>
                        </a:lnTo>
                        <a:lnTo>
                          <a:pt x="680" y="122"/>
                        </a:lnTo>
                        <a:lnTo>
                          <a:pt x="654" y="158"/>
                        </a:lnTo>
                        <a:lnTo>
                          <a:pt x="602" y="170"/>
                        </a:lnTo>
                        <a:lnTo>
                          <a:pt x="589" y="219"/>
                        </a:lnTo>
                        <a:lnTo>
                          <a:pt x="510" y="207"/>
                        </a:lnTo>
                        <a:lnTo>
                          <a:pt x="484" y="134"/>
                        </a:lnTo>
                        <a:lnTo>
                          <a:pt x="484" y="122"/>
                        </a:lnTo>
                        <a:lnTo>
                          <a:pt x="406" y="134"/>
                        </a:lnTo>
                        <a:lnTo>
                          <a:pt x="236" y="122"/>
                        </a:lnTo>
                        <a:lnTo>
                          <a:pt x="196" y="134"/>
                        </a:lnTo>
                        <a:lnTo>
                          <a:pt x="249" y="170"/>
                        </a:lnTo>
                        <a:lnTo>
                          <a:pt x="327" y="207"/>
                        </a:lnTo>
                        <a:lnTo>
                          <a:pt x="262" y="243"/>
                        </a:lnTo>
                        <a:lnTo>
                          <a:pt x="249" y="303"/>
                        </a:lnTo>
                        <a:lnTo>
                          <a:pt x="262" y="352"/>
                        </a:lnTo>
                        <a:lnTo>
                          <a:pt x="301" y="400"/>
                        </a:lnTo>
                        <a:lnTo>
                          <a:pt x="301" y="534"/>
                        </a:lnTo>
                        <a:lnTo>
                          <a:pt x="275" y="582"/>
                        </a:lnTo>
                        <a:lnTo>
                          <a:pt x="262" y="655"/>
                        </a:lnTo>
                        <a:lnTo>
                          <a:pt x="249" y="728"/>
                        </a:lnTo>
                        <a:lnTo>
                          <a:pt x="209" y="728"/>
                        </a:lnTo>
                        <a:lnTo>
                          <a:pt x="118" y="740"/>
                        </a:lnTo>
                        <a:lnTo>
                          <a:pt x="105" y="776"/>
                        </a:lnTo>
                        <a:lnTo>
                          <a:pt x="39" y="776"/>
                        </a:lnTo>
                        <a:lnTo>
                          <a:pt x="0" y="837"/>
                        </a:lnTo>
                        <a:lnTo>
                          <a:pt x="0" y="958"/>
                        </a:lnTo>
                      </a:path>
                    </a:pathLst>
                  </a:custGeom>
                  <a:solidFill>
                    <a:srgbClr val="6DA400"/>
                  </a:solidFill>
                  <a:ln w="3175" cap="rnd" cmpd="sng">
                    <a:solidFill>
                      <a:srgbClr val="4D4D4D"/>
                    </a:solidFill>
                    <a:round/>
                    <a:headEnd type="none" w="sm" len="sm"/>
                    <a:tailEnd type="stealth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2E2E2E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17" name="Freeform 117">
                    <a:extLst>
                      <a:ext uri="{FF2B5EF4-FFF2-40B4-BE49-F238E27FC236}">
                        <a16:creationId xmlns:a16="http://schemas.microsoft.com/office/drawing/2014/main" id="{0AB1FE3E-4EA6-4323-BDBD-CA9B74FC0AE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624407" y="1846411"/>
                    <a:ext cx="2255838" cy="1711325"/>
                  </a:xfrm>
                  <a:custGeom>
                    <a:avLst/>
                    <a:gdLst>
                      <a:gd name="T0" fmla="*/ 119547 w 1491"/>
                      <a:gd name="T1" fmla="*/ 1430788 h 1189"/>
                      <a:gd name="T2" fmla="*/ 316271 w 1491"/>
                      <a:gd name="T3" fmla="*/ 1518593 h 1189"/>
                      <a:gd name="T4" fmla="*/ 593196 w 1491"/>
                      <a:gd name="T5" fmla="*/ 1623671 h 1189"/>
                      <a:gd name="T6" fmla="*/ 910980 w 1491"/>
                      <a:gd name="T7" fmla="*/ 1623671 h 1189"/>
                      <a:gd name="T8" fmla="*/ 1106190 w 1491"/>
                      <a:gd name="T9" fmla="*/ 1501320 h 1189"/>
                      <a:gd name="T10" fmla="*/ 1304427 w 1491"/>
                      <a:gd name="T11" fmla="*/ 1378969 h 1189"/>
                      <a:gd name="T12" fmla="*/ 1502663 w 1491"/>
                      <a:gd name="T13" fmla="*/ 1449501 h 1189"/>
                      <a:gd name="T14" fmla="*/ 1759917 w 1491"/>
                      <a:gd name="T15" fmla="*/ 1535866 h 1189"/>
                      <a:gd name="T16" fmla="*/ 2056515 w 1491"/>
                      <a:gd name="T17" fmla="*/ 1466774 h 1189"/>
                      <a:gd name="T18" fmla="*/ 2195735 w 1491"/>
                      <a:gd name="T19" fmla="*/ 1273891 h 1189"/>
                      <a:gd name="T20" fmla="*/ 2195735 w 1491"/>
                      <a:gd name="T21" fmla="*/ 1134267 h 1189"/>
                      <a:gd name="T22" fmla="*/ 2215407 w 1491"/>
                      <a:gd name="T23" fmla="*/ 891004 h 1189"/>
                      <a:gd name="T24" fmla="*/ 2254752 w 1491"/>
                      <a:gd name="T25" fmla="*/ 611756 h 1189"/>
                      <a:gd name="T26" fmla="*/ 2076188 w 1491"/>
                      <a:gd name="T27" fmla="*/ 489404 h 1189"/>
                      <a:gd name="T28" fmla="*/ 1938481 w 1491"/>
                      <a:gd name="T29" fmla="*/ 349780 h 1189"/>
                      <a:gd name="T30" fmla="*/ 1799262 w 1491"/>
                      <a:gd name="T31" fmla="*/ 158337 h 1189"/>
                      <a:gd name="T32" fmla="*/ 1720572 w 1491"/>
                      <a:gd name="T33" fmla="*/ 192883 h 1189"/>
                      <a:gd name="T34" fmla="*/ 1620697 w 1491"/>
                      <a:gd name="T35" fmla="*/ 261975 h 1189"/>
                      <a:gd name="T36" fmla="*/ 1561680 w 1491"/>
                      <a:gd name="T37" fmla="*/ 454858 h 1189"/>
                      <a:gd name="T38" fmla="*/ 1443646 w 1491"/>
                      <a:gd name="T39" fmla="*/ 279248 h 1189"/>
                      <a:gd name="T40" fmla="*/ 1343772 w 1491"/>
                      <a:gd name="T41" fmla="*/ 210156 h 1189"/>
                      <a:gd name="T42" fmla="*/ 1245410 w 1491"/>
                      <a:gd name="T43" fmla="*/ 35986 h 1189"/>
                      <a:gd name="T44" fmla="*/ 1186393 w 1491"/>
                      <a:gd name="T45" fmla="*/ 87805 h 1189"/>
                      <a:gd name="T46" fmla="*/ 1029014 w 1491"/>
                      <a:gd name="T47" fmla="*/ 175610 h 1189"/>
                      <a:gd name="T48" fmla="*/ 910980 w 1491"/>
                      <a:gd name="T49" fmla="*/ 244702 h 1189"/>
                      <a:gd name="T50" fmla="*/ 771761 w 1491"/>
                      <a:gd name="T51" fmla="*/ 297961 h 1189"/>
                      <a:gd name="T52" fmla="*/ 732416 w 1491"/>
                      <a:gd name="T53" fmla="*/ 175610 h 1189"/>
                      <a:gd name="T54" fmla="*/ 357128 w 1491"/>
                      <a:gd name="T55" fmla="*/ 175610 h 1189"/>
                      <a:gd name="T56" fmla="*/ 376801 w 1491"/>
                      <a:gd name="T57" fmla="*/ 244702 h 1189"/>
                      <a:gd name="T58" fmla="*/ 396473 w 1491"/>
                      <a:gd name="T59" fmla="*/ 349780 h 1189"/>
                      <a:gd name="T60" fmla="*/ 396473 w 1491"/>
                      <a:gd name="T61" fmla="*/ 506678 h 1189"/>
                      <a:gd name="T62" fmla="*/ 455490 w 1491"/>
                      <a:gd name="T63" fmla="*/ 768653 h 1189"/>
                      <a:gd name="T64" fmla="*/ 396473 w 1491"/>
                      <a:gd name="T65" fmla="*/ 942823 h 1189"/>
                      <a:gd name="T66" fmla="*/ 316271 w 1491"/>
                      <a:gd name="T67" fmla="*/ 1047901 h 1189"/>
                      <a:gd name="T68" fmla="*/ 158892 w 1491"/>
                      <a:gd name="T69" fmla="*/ 1116994 h 1189"/>
                      <a:gd name="T70" fmla="*/ 0 w 1491"/>
                      <a:gd name="T71" fmla="*/ 1204798 h 1189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</a:gdLst>
                    <a:ahLst/>
                    <a:cxnLst>
                      <a:cxn ang="T72">
                        <a:pos x="T0" y="T1"/>
                      </a:cxn>
                      <a:cxn ang="T73">
                        <a:pos x="T2" y="T3"/>
                      </a:cxn>
                      <a:cxn ang="T74">
                        <a:pos x="T4" y="T5"/>
                      </a:cxn>
                      <a:cxn ang="T75">
                        <a:pos x="T6" y="T7"/>
                      </a:cxn>
                      <a:cxn ang="T76">
                        <a:pos x="T8" y="T9"/>
                      </a:cxn>
                      <a:cxn ang="T77">
                        <a:pos x="T10" y="T11"/>
                      </a:cxn>
                      <a:cxn ang="T78">
                        <a:pos x="T12" y="T13"/>
                      </a:cxn>
                      <a:cxn ang="T79">
                        <a:pos x="T14" y="T15"/>
                      </a:cxn>
                      <a:cxn ang="T80">
                        <a:pos x="T16" y="T17"/>
                      </a:cxn>
                      <a:cxn ang="T81">
                        <a:pos x="T18" y="T19"/>
                      </a:cxn>
                      <a:cxn ang="T82">
                        <a:pos x="T20" y="T21"/>
                      </a:cxn>
                      <a:cxn ang="T83">
                        <a:pos x="T22" y="T23"/>
                      </a:cxn>
                      <a:cxn ang="T84">
                        <a:pos x="T24" y="T25"/>
                      </a:cxn>
                      <a:cxn ang="T85">
                        <a:pos x="T26" y="T27"/>
                      </a:cxn>
                      <a:cxn ang="T86">
                        <a:pos x="T28" y="T29"/>
                      </a:cxn>
                      <a:cxn ang="T87">
                        <a:pos x="T30" y="T31"/>
                      </a:cxn>
                      <a:cxn ang="T88">
                        <a:pos x="T32" y="T33"/>
                      </a:cxn>
                      <a:cxn ang="T89">
                        <a:pos x="T34" y="T35"/>
                      </a:cxn>
                      <a:cxn ang="T90">
                        <a:pos x="T36" y="T37"/>
                      </a:cxn>
                      <a:cxn ang="T91">
                        <a:pos x="T38" y="T39"/>
                      </a:cxn>
                      <a:cxn ang="T92">
                        <a:pos x="T40" y="T41"/>
                      </a:cxn>
                      <a:cxn ang="T93">
                        <a:pos x="T42" y="T43"/>
                      </a:cxn>
                      <a:cxn ang="T94">
                        <a:pos x="T44" y="T45"/>
                      </a:cxn>
                      <a:cxn ang="T95">
                        <a:pos x="T46" y="T47"/>
                      </a:cxn>
                      <a:cxn ang="T96">
                        <a:pos x="T48" y="T49"/>
                      </a:cxn>
                      <a:cxn ang="T97">
                        <a:pos x="T50" y="T51"/>
                      </a:cxn>
                      <a:cxn ang="T98">
                        <a:pos x="T52" y="T53"/>
                      </a:cxn>
                      <a:cxn ang="T99">
                        <a:pos x="T54" y="T55"/>
                      </a:cxn>
                      <a:cxn ang="T100">
                        <a:pos x="T56" y="T57"/>
                      </a:cxn>
                      <a:cxn ang="T101">
                        <a:pos x="T58" y="T59"/>
                      </a:cxn>
                      <a:cxn ang="T102">
                        <a:pos x="T60" y="T61"/>
                      </a:cxn>
                      <a:cxn ang="T103">
                        <a:pos x="T62" y="T63"/>
                      </a:cxn>
                      <a:cxn ang="T104">
                        <a:pos x="T64" y="T65"/>
                      </a:cxn>
                      <a:cxn ang="T105">
                        <a:pos x="T66" y="T67"/>
                      </a:cxn>
                      <a:cxn ang="T106">
                        <a:pos x="T68" y="T69"/>
                      </a:cxn>
                      <a:cxn ang="T107">
                        <a:pos x="T70" y="T71"/>
                      </a:cxn>
                    </a:cxnLst>
                    <a:rect l="0" t="0" r="r" b="b"/>
                    <a:pathLst>
                      <a:path w="1491" h="1189">
                        <a:moveTo>
                          <a:pt x="0" y="958"/>
                        </a:moveTo>
                        <a:lnTo>
                          <a:pt x="79" y="994"/>
                        </a:lnTo>
                        <a:lnTo>
                          <a:pt x="131" y="994"/>
                        </a:lnTo>
                        <a:lnTo>
                          <a:pt x="209" y="1055"/>
                        </a:lnTo>
                        <a:lnTo>
                          <a:pt x="301" y="1091"/>
                        </a:lnTo>
                        <a:lnTo>
                          <a:pt x="392" y="1128"/>
                        </a:lnTo>
                        <a:lnTo>
                          <a:pt x="589" y="1188"/>
                        </a:lnTo>
                        <a:lnTo>
                          <a:pt x="602" y="1128"/>
                        </a:lnTo>
                        <a:lnTo>
                          <a:pt x="667" y="1091"/>
                        </a:lnTo>
                        <a:lnTo>
                          <a:pt x="731" y="1043"/>
                        </a:lnTo>
                        <a:lnTo>
                          <a:pt x="810" y="982"/>
                        </a:lnTo>
                        <a:lnTo>
                          <a:pt x="862" y="958"/>
                        </a:lnTo>
                        <a:lnTo>
                          <a:pt x="954" y="1007"/>
                        </a:lnTo>
                        <a:lnTo>
                          <a:pt x="993" y="1007"/>
                        </a:lnTo>
                        <a:lnTo>
                          <a:pt x="1006" y="1055"/>
                        </a:lnTo>
                        <a:lnTo>
                          <a:pt x="1163" y="1067"/>
                        </a:lnTo>
                        <a:lnTo>
                          <a:pt x="1228" y="1055"/>
                        </a:lnTo>
                        <a:lnTo>
                          <a:pt x="1359" y="1019"/>
                        </a:lnTo>
                        <a:lnTo>
                          <a:pt x="1477" y="970"/>
                        </a:lnTo>
                        <a:lnTo>
                          <a:pt x="1451" y="885"/>
                        </a:lnTo>
                        <a:lnTo>
                          <a:pt x="1451" y="849"/>
                        </a:lnTo>
                        <a:lnTo>
                          <a:pt x="1451" y="788"/>
                        </a:lnTo>
                        <a:lnTo>
                          <a:pt x="1464" y="716"/>
                        </a:lnTo>
                        <a:lnTo>
                          <a:pt x="1464" y="619"/>
                        </a:lnTo>
                        <a:lnTo>
                          <a:pt x="1490" y="497"/>
                        </a:lnTo>
                        <a:lnTo>
                          <a:pt x="1490" y="425"/>
                        </a:lnTo>
                        <a:lnTo>
                          <a:pt x="1438" y="376"/>
                        </a:lnTo>
                        <a:lnTo>
                          <a:pt x="1372" y="340"/>
                        </a:lnTo>
                        <a:lnTo>
                          <a:pt x="1307" y="291"/>
                        </a:lnTo>
                        <a:lnTo>
                          <a:pt x="1281" y="243"/>
                        </a:lnTo>
                        <a:lnTo>
                          <a:pt x="1215" y="194"/>
                        </a:lnTo>
                        <a:lnTo>
                          <a:pt x="1189" y="110"/>
                        </a:lnTo>
                        <a:lnTo>
                          <a:pt x="1189" y="85"/>
                        </a:lnTo>
                        <a:lnTo>
                          <a:pt x="1137" y="134"/>
                        </a:lnTo>
                        <a:lnTo>
                          <a:pt x="1124" y="170"/>
                        </a:lnTo>
                        <a:lnTo>
                          <a:pt x="1071" y="182"/>
                        </a:lnTo>
                        <a:lnTo>
                          <a:pt x="1058" y="231"/>
                        </a:lnTo>
                        <a:lnTo>
                          <a:pt x="1032" y="316"/>
                        </a:lnTo>
                        <a:lnTo>
                          <a:pt x="980" y="291"/>
                        </a:lnTo>
                        <a:lnTo>
                          <a:pt x="954" y="194"/>
                        </a:lnTo>
                        <a:lnTo>
                          <a:pt x="888" y="182"/>
                        </a:lnTo>
                        <a:lnTo>
                          <a:pt x="888" y="146"/>
                        </a:lnTo>
                        <a:lnTo>
                          <a:pt x="862" y="110"/>
                        </a:lnTo>
                        <a:lnTo>
                          <a:pt x="823" y="25"/>
                        </a:lnTo>
                        <a:lnTo>
                          <a:pt x="759" y="0"/>
                        </a:lnTo>
                        <a:lnTo>
                          <a:pt x="784" y="61"/>
                        </a:lnTo>
                        <a:lnTo>
                          <a:pt x="746" y="97"/>
                        </a:lnTo>
                        <a:lnTo>
                          <a:pt x="680" y="122"/>
                        </a:lnTo>
                        <a:lnTo>
                          <a:pt x="654" y="158"/>
                        </a:lnTo>
                        <a:lnTo>
                          <a:pt x="602" y="170"/>
                        </a:lnTo>
                        <a:lnTo>
                          <a:pt x="589" y="219"/>
                        </a:lnTo>
                        <a:lnTo>
                          <a:pt x="510" y="207"/>
                        </a:lnTo>
                        <a:lnTo>
                          <a:pt x="484" y="134"/>
                        </a:lnTo>
                        <a:lnTo>
                          <a:pt x="484" y="122"/>
                        </a:lnTo>
                        <a:lnTo>
                          <a:pt x="406" y="134"/>
                        </a:lnTo>
                        <a:lnTo>
                          <a:pt x="236" y="122"/>
                        </a:lnTo>
                        <a:lnTo>
                          <a:pt x="196" y="134"/>
                        </a:lnTo>
                        <a:lnTo>
                          <a:pt x="249" y="170"/>
                        </a:lnTo>
                        <a:lnTo>
                          <a:pt x="327" y="207"/>
                        </a:lnTo>
                        <a:lnTo>
                          <a:pt x="262" y="243"/>
                        </a:lnTo>
                        <a:lnTo>
                          <a:pt x="249" y="303"/>
                        </a:lnTo>
                        <a:lnTo>
                          <a:pt x="262" y="352"/>
                        </a:lnTo>
                        <a:lnTo>
                          <a:pt x="301" y="400"/>
                        </a:lnTo>
                        <a:lnTo>
                          <a:pt x="301" y="534"/>
                        </a:lnTo>
                        <a:lnTo>
                          <a:pt x="275" y="582"/>
                        </a:lnTo>
                        <a:lnTo>
                          <a:pt x="262" y="655"/>
                        </a:lnTo>
                        <a:lnTo>
                          <a:pt x="249" y="728"/>
                        </a:lnTo>
                        <a:lnTo>
                          <a:pt x="209" y="728"/>
                        </a:lnTo>
                        <a:lnTo>
                          <a:pt x="118" y="740"/>
                        </a:lnTo>
                        <a:lnTo>
                          <a:pt x="105" y="776"/>
                        </a:lnTo>
                        <a:lnTo>
                          <a:pt x="39" y="776"/>
                        </a:lnTo>
                        <a:lnTo>
                          <a:pt x="0" y="837"/>
                        </a:lnTo>
                        <a:lnTo>
                          <a:pt x="0" y="958"/>
                        </a:lnTo>
                      </a:path>
                    </a:pathLst>
                  </a:custGeom>
                  <a:gradFill rotWithShape="1">
                    <a:gsLst>
                      <a:gs pos="0">
                        <a:srgbClr val="004D00"/>
                      </a:gs>
                      <a:gs pos="50000">
                        <a:srgbClr val="007300"/>
                      </a:gs>
                      <a:gs pos="100000">
                        <a:srgbClr val="008A00"/>
                      </a:gs>
                    </a:gsLst>
                    <a:lin ang="13500000" scaled="1"/>
                  </a:gradFill>
                  <a:ln w="12700" cap="rnd" cmpd="sng">
                    <a:solidFill>
                      <a:srgbClr val="A3F25F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629139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18" name="Freeform 118">
                    <a:extLst>
                      <a:ext uri="{FF2B5EF4-FFF2-40B4-BE49-F238E27FC236}">
                        <a16:creationId xmlns:a16="http://schemas.microsoft.com/office/drawing/2014/main" id="{A6DB800F-3FFD-41BA-9FC0-789C9DAD3E8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91207" y="1552724"/>
                    <a:ext cx="733425" cy="785812"/>
                  </a:xfrm>
                  <a:custGeom>
                    <a:avLst/>
                    <a:gdLst>
                      <a:gd name="T0" fmla="*/ 693607 w 485"/>
                      <a:gd name="T1" fmla="*/ 471216 h 547"/>
                      <a:gd name="T2" fmla="*/ 654231 w 485"/>
                      <a:gd name="T3" fmla="*/ 400821 h 547"/>
                      <a:gd name="T4" fmla="*/ 673919 w 485"/>
                      <a:gd name="T5" fmla="*/ 314623 h 547"/>
                      <a:gd name="T6" fmla="*/ 732982 w 485"/>
                      <a:gd name="T7" fmla="*/ 244228 h 547"/>
                      <a:gd name="T8" fmla="*/ 732982 w 485"/>
                      <a:gd name="T9" fmla="*/ 175269 h 547"/>
                      <a:gd name="T10" fmla="*/ 673919 w 485"/>
                      <a:gd name="T11" fmla="*/ 139354 h 547"/>
                      <a:gd name="T12" fmla="*/ 713294 w 485"/>
                      <a:gd name="T13" fmla="*/ 70395 h 547"/>
                      <a:gd name="T14" fmla="*/ 673919 w 485"/>
                      <a:gd name="T15" fmla="*/ 0 h 547"/>
                      <a:gd name="T16" fmla="*/ 554279 w 485"/>
                      <a:gd name="T17" fmla="*/ 18676 h 547"/>
                      <a:gd name="T18" fmla="*/ 534592 w 485"/>
                      <a:gd name="T19" fmla="*/ 0 h 547"/>
                      <a:gd name="T20" fmla="*/ 514904 w 485"/>
                      <a:gd name="T21" fmla="*/ 35916 h 547"/>
                      <a:gd name="T22" fmla="*/ 495217 w 485"/>
                      <a:gd name="T23" fmla="*/ 70395 h 547"/>
                      <a:gd name="T24" fmla="*/ 455842 w 485"/>
                      <a:gd name="T25" fmla="*/ 104874 h 547"/>
                      <a:gd name="T26" fmla="*/ 357404 w 485"/>
                      <a:gd name="T27" fmla="*/ 87635 h 547"/>
                      <a:gd name="T28" fmla="*/ 357404 w 485"/>
                      <a:gd name="T29" fmla="*/ 104874 h 547"/>
                      <a:gd name="T30" fmla="*/ 316515 w 485"/>
                      <a:gd name="T31" fmla="*/ 156593 h 547"/>
                      <a:gd name="T32" fmla="*/ 296827 w 485"/>
                      <a:gd name="T33" fmla="*/ 175269 h 547"/>
                      <a:gd name="T34" fmla="*/ 257452 w 485"/>
                      <a:gd name="T35" fmla="*/ 209749 h 547"/>
                      <a:gd name="T36" fmla="*/ 198390 w 485"/>
                      <a:gd name="T37" fmla="*/ 192509 h 547"/>
                      <a:gd name="T38" fmla="*/ 139327 w 485"/>
                      <a:gd name="T39" fmla="*/ 156593 h 547"/>
                      <a:gd name="T40" fmla="*/ 39375 w 485"/>
                      <a:gd name="T41" fmla="*/ 156593 h 547"/>
                      <a:gd name="T42" fmla="*/ 39375 w 485"/>
                      <a:gd name="T43" fmla="*/ 175269 h 547"/>
                      <a:gd name="T44" fmla="*/ 0 w 485"/>
                      <a:gd name="T45" fmla="*/ 175269 h 547"/>
                      <a:gd name="T46" fmla="*/ 39375 w 485"/>
                      <a:gd name="T47" fmla="*/ 244228 h 547"/>
                      <a:gd name="T48" fmla="*/ 60577 w 485"/>
                      <a:gd name="T49" fmla="*/ 278707 h 547"/>
                      <a:gd name="T50" fmla="*/ 80265 w 485"/>
                      <a:gd name="T51" fmla="*/ 331863 h 547"/>
                      <a:gd name="T52" fmla="*/ 139327 w 485"/>
                      <a:gd name="T53" fmla="*/ 366342 h 547"/>
                      <a:gd name="T54" fmla="*/ 178702 w 485"/>
                      <a:gd name="T55" fmla="*/ 435300 h 547"/>
                      <a:gd name="T56" fmla="*/ 198390 w 485"/>
                      <a:gd name="T57" fmla="*/ 471216 h 547"/>
                      <a:gd name="T58" fmla="*/ 218077 w 485"/>
                      <a:gd name="T59" fmla="*/ 488456 h 547"/>
                      <a:gd name="T60" fmla="*/ 218077 w 485"/>
                      <a:gd name="T61" fmla="*/ 540175 h 547"/>
                      <a:gd name="T62" fmla="*/ 218077 w 485"/>
                      <a:gd name="T63" fmla="*/ 557414 h 547"/>
                      <a:gd name="T64" fmla="*/ 277140 w 485"/>
                      <a:gd name="T65" fmla="*/ 593330 h 547"/>
                      <a:gd name="T66" fmla="*/ 296827 w 485"/>
                      <a:gd name="T67" fmla="*/ 593330 h 547"/>
                      <a:gd name="T68" fmla="*/ 316515 w 485"/>
                      <a:gd name="T69" fmla="*/ 610570 h 547"/>
                      <a:gd name="T70" fmla="*/ 357404 w 485"/>
                      <a:gd name="T71" fmla="*/ 679528 h 547"/>
                      <a:gd name="T72" fmla="*/ 357404 w 485"/>
                      <a:gd name="T73" fmla="*/ 749923 h 547"/>
                      <a:gd name="T74" fmla="*/ 396779 w 485"/>
                      <a:gd name="T75" fmla="*/ 767163 h 547"/>
                      <a:gd name="T76" fmla="*/ 455842 w 485"/>
                      <a:gd name="T77" fmla="*/ 784402 h 547"/>
                      <a:gd name="T78" fmla="*/ 495217 w 485"/>
                      <a:gd name="T79" fmla="*/ 714007 h 547"/>
                      <a:gd name="T80" fmla="*/ 534592 w 485"/>
                      <a:gd name="T81" fmla="*/ 679528 h 547"/>
                      <a:gd name="T82" fmla="*/ 554279 w 485"/>
                      <a:gd name="T83" fmla="*/ 593330 h 547"/>
                      <a:gd name="T84" fmla="*/ 573967 w 485"/>
                      <a:gd name="T85" fmla="*/ 574654 h 547"/>
                      <a:gd name="T86" fmla="*/ 614856 w 485"/>
                      <a:gd name="T87" fmla="*/ 574654 h 547"/>
                      <a:gd name="T88" fmla="*/ 693607 w 485"/>
                      <a:gd name="T89" fmla="*/ 471216 h 547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</a:gdLst>
                    <a:ahLst/>
                    <a:cxnLst>
                      <a:cxn ang="T90">
                        <a:pos x="T0" y="T1"/>
                      </a:cxn>
                      <a:cxn ang="T91">
                        <a:pos x="T2" y="T3"/>
                      </a:cxn>
                      <a:cxn ang="T92">
                        <a:pos x="T4" y="T5"/>
                      </a:cxn>
                      <a:cxn ang="T93">
                        <a:pos x="T6" y="T7"/>
                      </a:cxn>
                      <a:cxn ang="T94">
                        <a:pos x="T8" y="T9"/>
                      </a:cxn>
                      <a:cxn ang="T95">
                        <a:pos x="T10" y="T11"/>
                      </a:cxn>
                      <a:cxn ang="T96">
                        <a:pos x="T12" y="T13"/>
                      </a:cxn>
                      <a:cxn ang="T97">
                        <a:pos x="T14" y="T15"/>
                      </a:cxn>
                      <a:cxn ang="T98">
                        <a:pos x="T16" y="T17"/>
                      </a:cxn>
                      <a:cxn ang="T99">
                        <a:pos x="T18" y="T19"/>
                      </a:cxn>
                      <a:cxn ang="T100">
                        <a:pos x="T20" y="T21"/>
                      </a:cxn>
                      <a:cxn ang="T101">
                        <a:pos x="T22" y="T23"/>
                      </a:cxn>
                      <a:cxn ang="T102">
                        <a:pos x="T24" y="T25"/>
                      </a:cxn>
                      <a:cxn ang="T103">
                        <a:pos x="T26" y="T27"/>
                      </a:cxn>
                      <a:cxn ang="T104">
                        <a:pos x="T28" y="T29"/>
                      </a:cxn>
                      <a:cxn ang="T105">
                        <a:pos x="T30" y="T31"/>
                      </a:cxn>
                      <a:cxn ang="T106">
                        <a:pos x="T32" y="T33"/>
                      </a:cxn>
                      <a:cxn ang="T107">
                        <a:pos x="T34" y="T35"/>
                      </a:cxn>
                      <a:cxn ang="T108">
                        <a:pos x="T36" y="T37"/>
                      </a:cxn>
                      <a:cxn ang="T109">
                        <a:pos x="T38" y="T39"/>
                      </a:cxn>
                      <a:cxn ang="T110">
                        <a:pos x="T40" y="T41"/>
                      </a:cxn>
                      <a:cxn ang="T111">
                        <a:pos x="T42" y="T43"/>
                      </a:cxn>
                      <a:cxn ang="T112">
                        <a:pos x="T44" y="T45"/>
                      </a:cxn>
                      <a:cxn ang="T113">
                        <a:pos x="T46" y="T47"/>
                      </a:cxn>
                      <a:cxn ang="T114">
                        <a:pos x="T48" y="T49"/>
                      </a:cxn>
                      <a:cxn ang="T115">
                        <a:pos x="T50" y="T51"/>
                      </a:cxn>
                      <a:cxn ang="T116">
                        <a:pos x="T52" y="T53"/>
                      </a:cxn>
                      <a:cxn ang="T117">
                        <a:pos x="T54" y="T55"/>
                      </a:cxn>
                      <a:cxn ang="T118">
                        <a:pos x="T56" y="T57"/>
                      </a:cxn>
                      <a:cxn ang="T119">
                        <a:pos x="T58" y="T59"/>
                      </a:cxn>
                      <a:cxn ang="T120">
                        <a:pos x="T60" y="T61"/>
                      </a:cxn>
                      <a:cxn ang="T121">
                        <a:pos x="T62" y="T63"/>
                      </a:cxn>
                      <a:cxn ang="T122">
                        <a:pos x="T64" y="T65"/>
                      </a:cxn>
                      <a:cxn ang="T123">
                        <a:pos x="T66" y="T67"/>
                      </a:cxn>
                      <a:cxn ang="T124">
                        <a:pos x="T68" y="T69"/>
                      </a:cxn>
                      <a:cxn ang="T125">
                        <a:pos x="T70" y="T71"/>
                      </a:cxn>
                      <a:cxn ang="T126">
                        <a:pos x="T72" y="T73"/>
                      </a:cxn>
                      <a:cxn ang="T127">
                        <a:pos x="T74" y="T75"/>
                      </a:cxn>
                      <a:cxn ang="T128">
                        <a:pos x="T76" y="T77"/>
                      </a:cxn>
                      <a:cxn ang="T129">
                        <a:pos x="T78" y="T79"/>
                      </a:cxn>
                      <a:cxn ang="T130">
                        <a:pos x="T80" y="T81"/>
                      </a:cxn>
                      <a:cxn ang="T131">
                        <a:pos x="T82" y="T83"/>
                      </a:cxn>
                      <a:cxn ang="T132">
                        <a:pos x="T84" y="T85"/>
                      </a:cxn>
                      <a:cxn ang="T133">
                        <a:pos x="T86" y="T87"/>
                      </a:cxn>
                      <a:cxn ang="T134">
                        <a:pos x="T88" y="T89"/>
                      </a:cxn>
                    </a:cxnLst>
                    <a:rect l="0" t="0" r="r" b="b"/>
                    <a:pathLst>
                      <a:path w="485" h="547">
                        <a:moveTo>
                          <a:pt x="458" y="328"/>
                        </a:moveTo>
                        <a:lnTo>
                          <a:pt x="432" y="279"/>
                        </a:lnTo>
                        <a:lnTo>
                          <a:pt x="445" y="219"/>
                        </a:lnTo>
                        <a:lnTo>
                          <a:pt x="484" y="170"/>
                        </a:lnTo>
                        <a:lnTo>
                          <a:pt x="484" y="122"/>
                        </a:lnTo>
                        <a:lnTo>
                          <a:pt x="445" y="97"/>
                        </a:lnTo>
                        <a:lnTo>
                          <a:pt x="471" y="49"/>
                        </a:lnTo>
                        <a:lnTo>
                          <a:pt x="445" y="0"/>
                        </a:lnTo>
                        <a:lnTo>
                          <a:pt x="366" y="13"/>
                        </a:lnTo>
                        <a:lnTo>
                          <a:pt x="353" y="0"/>
                        </a:lnTo>
                        <a:lnTo>
                          <a:pt x="340" y="25"/>
                        </a:lnTo>
                        <a:lnTo>
                          <a:pt x="327" y="49"/>
                        </a:lnTo>
                        <a:lnTo>
                          <a:pt x="301" y="73"/>
                        </a:lnTo>
                        <a:lnTo>
                          <a:pt x="236" y="61"/>
                        </a:lnTo>
                        <a:lnTo>
                          <a:pt x="236" y="73"/>
                        </a:lnTo>
                        <a:lnTo>
                          <a:pt x="209" y="109"/>
                        </a:lnTo>
                        <a:lnTo>
                          <a:pt x="196" y="122"/>
                        </a:lnTo>
                        <a:lnTo>
                          <a:pt x="170" y="146"/>
                        </a:lnTo>
                        <a:lnTo>
                          <a:pt x="131" y="134"/>
                        </a:lnTo>
                        <a:lnTo>
                          <a:pt x="92" y="109"/>
                        </a:lnTo>
                        <a:lnTo>
                          <a:pt x="26" y="109"/>
                        </a:lnTo>
                        <a:lnTo>
                          <a:pt x="26" y="122"/>
                        </a:lnTo>
                        <a:lnTo>
                          <a:pt x="0" y="122"/>
                        </a:lnTo>
                        <a:lnTo>
                          <a:pt x="26" y="170"/>
                        </a:lnTo>
                        <a:lnTo>
                          <a:pt x="40" y="194"/>
                        </a:lnTo>
                        <a:lnTo>
                          <a:pt x="53" y="231"/>
                        </a:lnTo>
                        <a:lnTo>
                          <a:pt x="92" y="255"/>
                        </a:lnTo>
                        <a:lnTo>
                          <a:pt x="118" y="303"/>
                        </a:lnTo>
                        <a:lnTo>
                          <a:pt x="131" y="328"/>
                        </a:lnTo>
                        <a:lnTo>
                          <a:pt x="144" y="340"/>
                        </a:lnTo>
                        <a:lnTo>
                          <a:pt x="144" y="376"/>
                        </a:lnTo>
                        <a:lnTo>
                          <a:pt x="144" y="388"/>
                        </a:lnTo>
                        <a:lnTo>
                          <a:pt x="183" y="413"/>
                        </a:lnTo>
                        <a:lnTo>
                          <a:pt x="196" y="413"/>
                        </a:lnTo>
                        <a:lnTo>
                          <a:pt x="209" y="425"/>
                        </a:lnTo>
                        <a:lnTo>
                          <a:pt x="236" y="473"/>
                        </a:lnTo>
                        <a:lnTo>
                          <a:pt x="236" y="522"/>
                        </a:lnTo>
                        <a:lnTo>
                          <a:pt x="262" y="534"/>
                        </a:lnTo>
                        <a:lnTo>
                          <a:pt x="301" y="546"/>
                        </a:lnTo>
                        <a:lnTo>
                          <a:pt x="327" y="497"/>
                        </a:lnTo>
                        <a:lnTo>
                          <a:pt x="353" y="473"/>
                        </a:lnTo>
                        <a:lnTo>
                          <a:pt x="366" y="413"/>
                        </a:lnTo>
                        <a:lnTo>
                          <a:pt x="379" y="400"/>
                        </a:lnTo>
                        <a:lnTo>
                          <a:pt x="406" y="400"/>
                        </a:lnTo>
                        <a:lnTo>
                          <a:pt x="458" y="328"/>
                        </a:lnTo>
                      </a:path>
                    </a:pathLst>
                  </a:custGeom>
                  <a:solidFill>
                    <a:srgbClr val="6DA400"/>
                  </a:solidFill>
                  <a:ln w="3175" cap="rnd" cmpd="sng">
                    <a:solidFill>
                      <a:srgbClr val="4D4D4D"/>
                    </a:solidFill>
                    <a:round/>
                    <a:headEnd type="none" w="sm" len="sm"/>
                    <a:tailEnd type="stealth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2E2E2E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19" name="Freeform 119">
                    <a:extLst>
                      <a:ext uri="{FF2B5EF4-FFF2-40B4-BE49-F238E27FC236}">
                        <a16:creationId xmlns:a16="http://schemas.microsoft.com/office/drawing/2014/main" id="{9B102C35-0672-4F91-BC9B-9F650DFD911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91207" y="1552724"/>
                    <a:ext cx="733425" cy="785812"/>
                  </a:xfrm>
                  <a:custGeom>
                    <a:avLst/>
                    <a:gdLst>
                      <a:gd name="T0" fmla="*/ 693607 w 485"/>
                      <a:gd name="T1" fmla="*/ 471216 h 547"/>
                      <a:gd name="T2" fmla="*/ 654231 w 485"/>
                      <a:gd name="T3" fmla="*/ 400821 h 547"/>
                      <a:gd name="T4" fmla="*/ 673919 w 485"/>
                      <a:gd name="T5" fmla="*/ 314623 h 547"/>
                      <a:gd name="T6" fmla="*/ 732982 w 485"/>
                      <a:gd name="T7" fmla="*/ 244228 h 547"/>
                      <a:gd name="T8" fmla="*/ 732982 w 485"/>
                      <a:gd name="T9" fmla="*/ 175269 h 547"/>
                      <a:gd name="T10" fmla="*/ 673919 w 485"/>
                      <a:gd name="T11" fmla="*/ 139354 h 547"/>
                      <a:gd name="T12" fmla="*/ 713294 w 485"/>
                      <a:gd name="T13" fmla="*/ 70395 h 547"/>
                      <a:gd name="T14" fmla="*/ 673919 w 485"/>
                      <a:gd name="T15" fmla="*/ 0 h 547"/>
                      <a:gd name="T16" fmla="*/ 554279 w 485"/>
                      <a:gd name="T17" fmla="*/ 18676 h 547"/>
                      <a:gd name="T18" fmla="*/ 534592 w 485"/>
                      <a:gd name="T19" fmla="*/ 0 h 547"/>
                      <a:gd name="T20" fmla="*/ 514904 w 485"/>
                      <a:gd name="T21" fmla="*/ 35916 h 547"/>
                      <a:gd name="T22" fmla="*/ 495217 w 485"/>
                      <a:gd name="T23" fmla="*/ 70395 h 547"/>
                      <a:gd name="T24" fmla="*/ 455842 w 485"/>
                      <a:gd name="T25" fmla="*/ 104874 h 547"/>
                      <a:gd name="T26" fmla="*/ 357404 w 485"/>
                      <a:gd name="T27" fmla="*/ 87635 h 547"/>
                      <a:gd name="T28" fmla="*/ 357404 w 485"/>
                      <a:gd name="T29" fmla="*/ 104874 h 547"/>
                      <a:gd name="T30" fmla="*/ 316515 w 485"/>
                      <a:gd name="T31" fmla="*/ 156593 h 547"/>
                      <a:gd name="T32" fmla="*/ 296827 w 485"/>
                      <a:gd name="T33" fmla="*/ 175269 h 547"/>
                      <a:gd name="T34" fmla="*/ 257452 w 485"/>
                      <a:gd name="T35" fmla="*/ 209749 h 547"/>
                      <a:gd name="T36" fmla="*/ 198390 w 485"/>
                      <a:gd name="T37" fmla="*/ 192509 h 547"/>
                      <a:gd name="T38" fmla="*/ 139327 w 485"/>
                      <a:gd name="T39" fmla="*/ 156593 h 547"/>
                      <a:gd name="T40" fmla="*/ 39375 w 485"/>
                      <a:gd name="T41" fmla="*/ 156593 h 547"/>
                      <a:gd name="T42" fmla="*/ 39375 w 485"/>
                      <a:gd name="T43" fmla="*/ 175269 h 547"/>
                      <a:gd name="T44" fmla="*/ 0 w 485"/>
                      <a:gd name="T45" fmla="*/ 175269 h 547"/>
                      <a:gd name="T46" fmla="*/ 39375 w 485"/>
                      <a:gd name="T47" fmla="*/ 244228 h 547"/>
                      <a:gd name="T48" fmla="*/ 60577 w 485"/>
                      <a:gd name="T49" fmla="*/ 278707 h 547"/>
                      <a:gd name="T50" fmla="*/ 80265 w 485"/>
                      <a:gd name="T51" fmla="*/ 331863 h 547"/>
                      <a:gd name="T52" fmla="*/ 139327 w 485"/>
                      <a:gd name="T53" fmla="*/ 366342 h 547"/>
                      <a:gd name="T54" fmla="*/ 178702 w 485"/>
                      <a:gd name="T55" fmla="*/ 435300 h 547"/>
                      <a:gd name="T56" fmla="*/ 198390 w 485"/>
                      <a:gd name="T57" fmla="*/ 471216 h 547"/>
                      <a:gd name="T58" fmla="*/ 218077 w 485"/>
                      <a:gd name="T59" fmla="*/ 488456 h 547"/>
                      <a:gd name="T60" fmla="*/ 218077 w 485"/>
                      <a:gd name="T61" fmla="*/ 540175 h 547"/>
                      <a:gd name="T62" fmla="*/ 218077 w 485"/>
                      <a:gd name="T63" fmla="*/ 557414 h 547"/>
                      <a:gd name="T64" fmla="*/ 277140 w 485"/>
                      <a:gd name="T65" fmla="*/ 593330 h 547"/>
                      <a:gd name="T66" fmla="*/ 296827 w 485"/>
                      <a:gd name="T67" fmla="*/ 593330 h 547"/>
                      <a:gd name="T68" fmla="*/ 316515 w 485"/>
                      <a:gd name="T69" fmla="*/ 610570 h 547"/>
                      <a:gd name="T70" fmla="*/ 357404 w 485"/>
                      <a:gd name="T71" fmla="*/ 679528 h 547"/>
                      <a:gd name="T72" fmla="*/ 357404 w 485"/>
                      <a:gd name="T73" fmla="*/ 749923 h 547"/>
                      <a:gd name="T74" fmla="*/ 396779 w 485"/>
                      <a:gd name="T75" fmla="*/ 767163 h 547"/>
                      <a:gd name="T76" fmla="*/ 455842 w 485"/>
                      <a:gd name="T77" fmla="*/ 784402 h 547"/>
                      <a:gd name="T78" fmla="*/ 495217 w 485"/>
                      <a:gd name="T79" fmla="*/ 714007 h 547"/>
                      <a:gd name="T80" fmla="*/ 534592 w 485"/>
                      <a:gd name="T81" fmla="*/ 679528 h 547"/>
                      <a:gd name="T82" fmla="*/ 554279 w 485"/>
                      <a:gd name="T83" fmla="*/ 593330 h 547"/>
                      <a:gd name="T84" fmla="*/ 573967 w 485"/>
                      <a:gd name="T85" fmla="*/ 574654 h 547"/>
                      <a:gd name="T86" fmla="*/ 614856 w 485"/>
                      <a:gd name="T87" fmla="*/ 574654 h 547"/>
                      <a:gd name="T88" fmla="*/ 693607 w 485"/>
                      <a:gd name="T89" fmla="*/ 471216 h 547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</a:gdLst>
                    <a:ahLst/>
                    <a:cxnLst>
                      <a:cxn ang="T90">
                        <a:pos x="T0" y="T1"/>
                      </a:cxn>
                      <a:cxn ang="T91">
                        <a:pos x="T2" y="T3"/>
                      </a:cxn>
                      <a:cxn ang="T92">
                        <a:pos x="T4" y="T5"/>
                      </a:cxn>
                      <a:cxn ang="T93">
                        <a:pos x="T6" y="T7"/>
                      </a:cxn>
                      <a:cxn ang="T94">
                        <a:pos x="T8" y="T9"/>
                      </a:cxn>
                      <a:cxn ang="T95">
                        <a:pos x="T10" y="T11"/>
                      </a:cxn>
                      <a:cxn ang="T96">
                        <a:pos x="T12" y="T13"/>
                      </a:cxn>
                      <a:cxn ang="T97">
                        <a:pos x="T14" y="T15"/>
                      </a:cxn>
                      <a:cxn ang="T98">
                        <a:pos x="T16" y="T17"/>
                      </a:cxn>
                      <a:cxn ang="T99">
                        <a:pos x="T18" y="T19"/>
                      </a:cxn>
                      <a:cxn ang="T100">
                        <a:pos x="T20" y="T21"/>
                      </a:cxn>
                      <a:cxn ang="T101">
                        <a:pos x="T22" y="T23"/>
                      </a:cxn>
                      <a:cxn ang="T102">
                        <a:pos x="T24" y="T25"/>
                      </a:cxn>
                      <a:cxn ang="T103">
                        <a:pos x="T26" y="T27"/>
                      </a:cxn>
                      <a:cxn ang="T104">
                        <a:pos x="T28" y="T29"/>
                      </a:cxn>
                      <a:cxn ang="T105">
                        <a:pos x="T30" y="T31"/>
                      </a:cxn>
                      <a:cxn ang="T106">
                        <a:pos x="T32" y="T33"/>
                      </a:cxn>
                      <a:cxn ang="T107">
                        <a:pos x="T34" y="T35"/>
                      </a:cxn>
                      <a:cxn ang="T108">
                        <a:pos x="T36" y="T37"/>
                      </a:cxn>
                      <a:cxn ang="T109">
                        <a:pos x="T38" y="T39"/>
                      </a:cxn>
                      <a:cxn ang="T110">
                        <a:pos x="T40" y="T41"/>
                      </a:cxn>
                      <a:cxn ang="T111">
                        <a:pos x="T42" y="T43"/>
                      </a:cxn>
                      <a:cxn ang="T112">
                        <a:pos x="T44" y="T45"/>
                      </a:cxn>
                      <a:cxn ang="T113">
                        <a:pos x="T46" y="T47"/>
                      </a:cxn>
                      <a:cxn ang="T114">
                        <a:pos x="T48" y="T49"/>
                      </a:cxn>
                      <a:cxn ang="T115">
                        <a:pos x="T50" y="T51"/>
                      </a:cxn>
                      <a:cxn ang="T116">
                        <a:pos x="T52" y="T53"/>
                      </a:cxn>
                      <a:cxn ang="T117">
                        <a:pos x="T54" y="T55"/>
                      </a:cxn>
                      <a:cxn ang="T118">
                        <a:pos x="T56" y="T57"/>
                      </a:cxn>
                      <a:cxn ang="T119">
                        <a:pos x="T58" y="T59"/>
                      </a:cxn>
                      <a:cxn ang="T120">
                        <a:pos x="T60" y="T61"/>
                      </a:cxn>
                      <a:cxn ang="T121">
                        <a:pos x="T62" y="T63"/>
                      </a:cxn>
                      <a:cxn ang="T122">
                        <a:pos x="T64" y="T65"/>
                      </a:cxn>
                      <a:cxn ang="T123">
                        <a:pos x="T66" y="T67"/>
                      </a:cxn>
                      <a:cxn ang="T124">
                        <a:pos x="T68" y="T69"/>
                      </a:cxn>
                      <a:cxn ang="T125">
                        <a:pos x="T70" y="T71"/>
                      </a:cxn>
                      <a:cxn ang="T126">
                        <a:pos x="T72" y="T73"/>
                      </a:cxn>
                      <a:cxn ang="T127">
                        <a:pos x="T74" y="T75"/>
                      </a:cxn>
                      <a:cxn ang="T128">
                        <a:pos x="T76" y="T77"/>
                      </a:cxn>
                      <a:cxn ang="T129">
                        <a:pos x="T78" y="T79"/>
                      </a:cxn>
                      <a:cxn ang="T130">
                        <a:pos x="T80" y="T81"/>
                      </a:cxn>
                      <a:cxn ang="T131">
                        <a:pos x="T82" y="T83"/>
                      </a:cxn>
                      <a:cxn ang="T132">
                        <a:pos x="T84" y="T85"/>
                      </a:cxn>
                      <a:cxn ang="T133">
                        <a:pos x="T86" y="T87"/>
                      </a:cxn>
                      <a:cxn ang="T134">
                        <a:pos x="T88" y="T89"/>
                      </a:cxn>
                    </a:cxnLst>
                    <a:rect l="0" t="0" r="r" b="b"/>
                    <a:pathLst>
                      <a:path w="485" h="547">
                        <a:moveTo>
                          <a:pt x="458" y="328"/>
                        </a:moveTo>
                        <a:lnTo>
                          <a:pt x="432" y="279"/>
                        </a:lnTo>
                        <a:lnTo>
                          <a:pt x="445" y="219"/>
                        </a:lnTo>
                        <a:lnTo>
                          <a:pt x="484" y="170"/>
                        </a:lnTo>
                        <a:lnTo>
                          <a:pt x="484" y="122"/>
                        </a:lnTo>
                        <a:lnTo>
                          <a:pt x="445" y="97"/>
                        </a:lnTo>
                        <a:lnTo>
                          <a:pt x="471" y="49"/>
                        </a:lnTo>
                        <a:lnTo>
                          <a:pt x="445" y="0"/>
                        </a:lnTo>
                        <a:lnTo>
                          <a:pt x="366" y="13"/>
                        </a:lnTo>
                        <a:lnTo>
                          <a:pt x="353" y="0"/>
                        </a:lnTo>
                        <a:lnTo>
                          <a:pt x="340" y="25"/>
                        </a:lnTo>
                        <a:lnTo>
                          <a:pt x="327" y="49"/>
                        </a:lnTo>
                        <a:lnTo>
                          <a:pt x="301" y="73"/>
                        </a:lnTo>
                        <a:lnTo>
                          <a:pt x="236" y="61"/>
                        </a:lnTo>
                        <a:lnTo>
                          <a:pt x="236" y="73"/>
                        </a:lnTo>
                        <a:lnTo>
                          <a:pt x="209" y="109"/>
                        </a:lnTo>
                        <a:lnTo>
                          <a:pt x="196" y="122"/>
                        </a:lnTo>
                        <a:lnTo>
                          <a:pt x="170" y="146"/>
                        </a:lnTo>
                        <a:lnTo>
                          <a:pt x="131" y="134"/>
                        </a:lnTo>
                        <a:lnTo>
                          <a:pt x="92" y="109"/>
                        </a:lnTo>
                        <a:lnTo>
                          <a:pt x="26" y="109"/>
                        </a:lnTo>
                        <a:lnTo>
                          <a:pt x="26" y="122"/>
                        </a:lnTo>
                        <a:lnTo>
                          <a:pt x="0" y="122"/>
                        </a:lnTo>
                        <a:lnTo>
                          <a:pt x="26" y="170"/>
                        </a:lnTo>
                        <a:lnTo>
                          <a:pt x="40" y="194"/>
                        </a:lnTo>
                        <a:lnTo>
                          <a:pt x="53" y="231"/>
                        </a:lnTo>
                        <a:lnTo>
                          <a:pt x="92" y="255"/>
                        </a:lnTo>
                        <a:lnTo>
                          <a:pt x="118" y="303"/>
                        </a:lnTo>
                        <a:lnTo>
                          <a:pt x="131" y="328"/>
                        </a:lnTo>
                        <a:lnTo>
                          <a:pt x="144" y="340"/>
                        </a:lnTo>
                        <a:lnTo>
                          <a:pt x="144" y="376"/>
                        </a:lnTo>
                        <a:lnTo>
                          <a:pt x="144" y="388"/>
                        </a:lnTo>
                        <a:lnTo>
                          <a:pt x="183" y="413"/>
                        </a:lnTo>
                        <a:lnTo>
                          <a:pt x="196" y="413"/>
                        </a:lnTo>
                        <a:lnTo>
                          <a:pt x="209" y="425"/>
                        </a:lnTo>
                        <a:lnTo>
                          <a:pt x="236" y="473"/>
                        </a:lnTo>
                        <a:lnTo>
                          <a:pt x="236" y="522"/>
                        </a:lnTo>
                        <a:lnTo>
                          <a:pt x="262" y="534"/>
                        </a:lnTo>
                        <a:lnTo>
                          <a:pt x="301" y="546"/>
                        </a:lnTo>
                        <a:lnTo>
                          <a:pt x="327" y="497"/>
                        </a:lnTo>
                        <a:lnTo>
                          <a:pt x="353" y="473"/>
                        </a:lnTo>
                        <a:lnTo>
                          <a:pt x="366" y="413"/>
                        </a:lnTo>
                        <a:lnTo>
                          <a:pt x="379" y="400"/>
                        </a:lnTo>
                        <a:lnTo>
                          <a:pt x="406" y="400"/>
                        </a:lnTo>
                        <a:lnTo>
                          <a:pt x="458" y="328"/>
                        </a:lnTo>
                      </a:path>
                    </a:pathLst>
                  </a:custGeom>
                  <a:gradFill rotWithShape="1">
                    <a:gsLst>
                      <a:gs pos="0">
                        <a:srgbClr val="004D00"/>
                      </a:gs>
                      <a:gs pos="50000">
                        <a:srgbClr val="007300"/>
                      </a:gs>
                      <a:gs pos="100000">
                        <a:srgbClr val="008A00"/>
                      </a:gs>
                    </a:gsLst>
                    <a:lin ang="13500000" scaled="1"/>
                  </a:gradFill>
                  <a:ln w="12700" cap="rnd" cmpd="sng">
                    <a:solidFill>
                      <a:srgbClr val="A3F55D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629338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20" name="Freeform 120">
                    <a:extLst>
                      <a:ext uri="{FF2B5EF4-FFF2-40B4-BE49-F238E27FC236}">
                        <a16:creationId xmlns:a16="http://schemas.microsoft.com/office/drawing/2014/main" id="{4DFA310C-3C6F-469B-B59F-348161E57DC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966095" y="2197249"/>
                    <a:ext cx="849312" cy="1136650"/>
                  </a:xfrm>
                  <a:custGeom>
                    <a:avLst/>
                    <a:gdLst>
                      <a:gd name="T0" fmla="*/ 256769 w 562"/>
                      <a:gd name="T1" fmla="*/ 0 h 789"/>
                      <a:gd name="T2" fmla="*/ 374581 w 562"/>
                      <a:gd name="T3" fmla="*/ 17300 h 789"/>
                      <a:gd name="T4" fmla="*/ 395726 w 562"/>
                      <a:gd name="T5" fmla="*/ 34599 h 789"/>
                      <a:gd name="T6" fmla="*/ 434997 w 562"/>
                      <a:gd name="T7" fmla="*/ 51899 h 789"/>
                      <a:gd name="T8" fmla="*/ 492392 w 562"/>
                      <a:gd name="T9" fmla="*/ 86498 h 789"/>
                      <a:gd name="T10" fmla="*/ 472757 w 562"/>
                      <a:gd name="T11" fmla="*/ 139839 h 789"/>
                      <a:gd name="T12" fmla="*/ 453122 w 562"/>
                      <a:gd name="T13" fmla="*/ 174438 h 789"/>
                      <a:gd name="T14" fmla="*/ 472757 w 562"/>
                      <a:gd name="T15" fmla="*/ 209038 h 789"/>
                      <a:gd name="T16" fmla="*/ 472757 w 562"/>
                      <a:gd name="T17" fmla="*/ 245079 h 789"/>
                      <a:gd name="T18" fmla="*/ 472757 w 562"/>
                      <a:gd name="T19" fmla="*/ 262378 h 789"/>
                      <a:gd name="T20" fmla="*/ 512028 w 562"/>
                      <a:gd name="T21" fmla="*/ 226337 h 789"/>
                      <a:gd name="T22" fmla="*/ 570933 w 562"/>
                      <a:gd name="T23" fmla="*/ 191738 h 789"/>
                      <a:gd name="T24" fmla="*/ 649474 w 562"/>
                      <a:gd name="T25" fmla="*/ 174438 h 789"/>
                      <a:gd name="T26" fmla="*/ 709891 w 562"/>
                      <a:gd name="T27" fmla="*/ 157139 h 789"/>
                      <a:gd name="T28" fmla="*/ 768796 w 562"/>
                      <a:gd name="T29" fmla="*/ 157139 h 789"/>
                      <a:gd name="T30" fmla="*/ 788432 w 562"/>
                      <a:gd name="T31" fmla="*/ 174438 h 789"/>
                      <a:gd name="T32" fmla="*/ 847338 w 562"/>
                      <a:gd name="T33" fmla="*/ 191738 h 789"/>
                      <a:gd name="T34" fmla="*/ 749161 w 562"/>
                      <a:gd name="T35" fmla="*/ 296978 h 789"/>
                      <a:gd name="T36" fmla="*/ 729526 w 562"/>
                      <a:gd name="T37" fmla="*/ 348877 h 789"/>
                      <a:gd name="T38" fmla="*/ 690255 w 562"/>
                      <a:gd name="T39" fmla="*/ 402218 h 789"/>
                      <a:gd name="T40" fmla="*/ 670620 w 562"/>
                      <a:gd name="T41" fmla="*/ 436817 h 789"/>
                      <a:gd name="T42" fmla="*/ 629839 w 562"/>
                      <a:gd name="T43" fmla="*/ 471416 h 789"/>
                      <a:gd name="T44" fmla="*/ 629839 w 562"/>
                      <a:gd name="T45" fmla="*/ 506016 h 789"/>
                      <a:gd name="T46" fmla="*/ 670620 w 562"/>
                      <a:gd name="T47" fmla="*/ 559356 h 789"/>
                      <a:gd name="T48" fmla="*/ 670620 w 562"/>
                      <a:gd name="T49" fmla="*/ 593956 h 789"/>
                      <a:gd name="T50" fmla="*/ 649474 w 562"/>
                      <a:gd name="T51" fmla="*/ 628555 h 789"/>
                      <a:gd name="T52" fmla="*/ 590569 w 562"/>
                      <a:gd name="T53" fmla="*/ 681896 h 789"/>
                      <a:gd name="T54" fmla="*/ 551298 w 562"/>
                      <a:gd name="T55" fmla="*/ 733795 h 789"/>
                      <a:gd name="T56" fmla="*/ 492392 w 562"/>
                      <a:gd name="T57" fmla="*/ 785694 h 789"/>
                      <a:gd name="T58" fmla="*/ 415362 w 562"/>
                      <a:gd name="T59" fmla="*/ 821735 h 789"/>
                      <a:gd name="T60" fmla="*/ 395726 w 562"/>
                      <a:gd name="T61" fmla="*/ 821735 h 789"/>
                      <a:gd name="T62" fmla="*/ 374581 w 562"/>
                      <a:gd name="T63" fmla="*/ 856334 h 789"/>
                      <a:gd name="T64" fmla="*/ 354945 w 562"/>
                      <a:gd name="T65" fmla="*/ 925533 h 789"/>
                      <a:gd name="T66" fmla="*/ 354945 w 562"/>
                      <a:gd name="T67" fmla="*/ 996173 h 789"/>
                      <a:gd name="T68" fmla="*/ 335310 w 562"/>
                      <a:gd name="T69" fmla="*/ 1065372 h 789"/>
                      <a:gd name="T70" fmla="*/ 315675 w 562"/>
                      <a:gd name="T71" fmla="*/ 1136012 h 789"/>
                      <a:gd name="T72" fmla="*/ 256769 w 562"/>
                      <a:gd name="T73" fmla="*/ 1118713 h 789"/>
                      <a:gd name="T74" fmla="*/ 197863 w 562"/>
                      <a:gd name="T75" fmla="*/ 1065372 h 789"/>
                      <a:gd name="T76" fmla="*/ 158593 w 562"/>
                      <a:gd name="T77" fmla="*/ 1013473 h 789"/>
                      <a:gd name="T78" fmla="*/ 178228 w 562"/>
                      <a:gd name="T79" fmla="*/ 908233 h 789"/>
                      <a:gd name="T80" fmla="*/ 178228 w 562"/>
                      <a:gd name="T81" fmla="*/ 873634 h 789"/>
                      <a:gd name="T82" fmla="*/ 158593 w 562"/>
                      <a:gd name="T83" fmla="*/ 856334 h 789"/>
                      <a:gd name="T84" fmla="*/ 138957 w 562"/>
                      <a:gd name="T85" fmla="*/ 821735 h 789"/>
                      <a:gd name="T86" fmla="*/ 138957 w 562"/>
                      <a:gd name="T87" fmla="*/ 785694 h 789"/>
                      <a:gd name="T88" fmla="*/ 138957 w 562"/>
                      <a:gd name="T89" fmla="*/ 751094 h 789"/>
                      <a:gd name="T90" fmla="*/ 117812 w 562"/>
                      <a:gd name="T91" fmla="*/ 716495 h 789"/>
                      <a:gd name="T92" fmla="*/ 98176 w 562"/>
                      <a:gd name="T93" fmla="*/ 663154 h 789"/>
                      <a:gd name="T94" fmla="*/ 78541 w 562"/>
                      <a:gd name="T95" fmla="*/ 628555 h 789"/>
                      <a:gd name="T96" fmla="*/ 58906 w 562"/>
                      <a:gd name="T97" fmla="*/ 611255 h 789"/>
                      <a:gd name="T98" fmla="*/ 39271 w 562"/>
                      <a:gd name="T99" fmla="*/ 576656 h 789"/>
                      <a:gd name="T100" fmla="*/ 19635 w 562"/>
                      <a:gd name="T101" fmla="*/ 542057 h 789"/>
                      <a:gd name="T102" fmla="*/ 0 w 562"/>
                      <a:gd name="T103" fmla="*/ 524757 h 789"/>
                      <a:gd name="T104" fmla="*/ 0 w 562"/>
                      <a:gd name="T105" fmla="*/ 488716 h 789"/>
                      <a:gd name="T106" fmla="*/ 39271 w 562"/>
                      <a:gd name="T107" fmla="*/ 454117 h 789"/>
                      <a:gd name="T108" fmla="*/ 98176 w 562"/>
                      <a:gd name="T109" fmla="*/ 419517 h 789"/>
                      <a:gd name="T110" fmla="*/ 98176 w 562"/>
                      <a:gd name="T111" fmla="*/ 348877 h 789"/>
                      <a:gd name="T112" fmla="*/ 117812 w 562"/>
                      <a:gd name="T113" fmla="*/ 296978 h 789"/>
                      <a:gd name="T114" fmla="*/ 158593 w 562"/>
                      <a:gd name="T115" fmla="*/ 209038 h 789"/>
                      <a:gd name="T116" fmla="*/ 197863 w 562"/>
                      <a:gd name="T117" fmla="*/ 191738 h 789"/>
                      <a:gd name="T118" fmla="*/ 197863 w 562"/>
                      <a:gd name="T119" fmla="*/ 122539 h 789"/>
                      <a:gd name="T120" fmla="*/ 256769 w 562"/>
                      <a:gd name="T121" fmla="*/ 0 h 789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</a:gdLst>
                    <a:ahLst/>
                    <a:cxnLst>
                      <a:cxn ang="T122">
                        <a:pos x="T0" y="T1"/>
                      </a:cxn>
                      <a:cxn ang="T123">
                        <a:pos x="T2" y="T3"/>
                      </a:cxn>
                      <a:cxn ang="T124">
                        <a:pos x="T4" y="T5"/>
                      </a:cxn>
                      <a:cxn ang="T125">
                        <a:pos x="T6" y="T7"/>
                      </a:cxn>
                      <a:cxn ang="T126">
                        <a:pos x="T8" y="T9"/>
                      </a:cxn>
                      <a:cxn ang="T127">
                        <a:pos x="T10" y="T11"/>
                      </a:cxn>
                      <a:cxn ang="T128">
                        <a:pos x="T12" y="T13"/>
                      </a:cxn>
                      <a:cxn ang="T129">
                        <a:pos x="T14" y="T15"/>
                      </a:cxn>
                      <a:cxn ang="T130">
                        <a:pos x="T16" y="T17"/>
                      </a:cxn>
                      <a:cxn ang="T131">
                        <a:pos x="T18" y="T19"/>
                      </a:cxn>
                      <a:cxn ang="T132">
                        <a:pos x="T20" y="T21"/>
                      </a:cxn>
                      <a:cxn ang="T133">
                        <a:pos x="T22" y="T23"/>
                      </a:cxn>
                      <a:cxn ang="T134">
                        <a:pos x="T24" y="T25"/>
                      </a:cxn>
                      <a:cxn ang="T135">
                        <a:pos x="T26" y="T27"/>
                      </a:cxn>
                      <a:cxn ang="T136">
                        <a:pos x="T28" y="T29"/>
                      </a:cxn>
                      <a:cxn ang="T137">
                        <a:pos x="T30" y="T31"/>
                      </a:cxn>
                      <a:cxn ang="T138">
                        <a:pos x="T32" y="T33"/>
                      </a:cxn>
                      <a:cxn ang="T139">
                        <a:pos x="T34" y="T35"/>
                      </a:cxn>
                      <a:cxn ang="T140">
                        <a:pos x="T36" y="T37"/>
                      </a:cxn>
                      <a:cxn ang="T141">
                        <a:pos x="T38" y="T39"/>
                      </a:cxn>
                      <a:cxn ang="T142">
                        <a:pos x="T40" y="T41"/>
                      </a:cxn>
                      <a:cxn ang="T143">
                        <a:pos x="T42" y="T43"/>
                      </a:cxn>
                      <a:cxn ang="T144">
                        <a:pos x="T44" y="T45"/>
                      </a:cxn>
                      <a:cxn ang="T145">
                        <a:pos x="T46" y="T47"/>
                      </a:cxn>
                      <a:cxn ang="T146">
                        <a:pos x="T48" y="T49"/>
                      </a:cxn>
                      <a:cxn ang="T147">
                        <a:pos x="T50" y="T51"/>
                      </a:cxn>
                      <a:cxn ang="T148">
                        <a:pos x="T52" y="T53"/>
                      </a:cxn>
                      <a:cxn ang="T149">
                        <a:pos x="T54" y="T55"/>
                      </a:cxn>
                      <a:cxn ang="T150">
                        <a:pos x="T56" y="T57"/>
                      </a:cxn>
                      <a:cxn ang="T151">
                        <a:pos x="T58" y="T59"/>
                      </a:cxn>
                      <a:cxn ang="T152">
                        <a:pos x="T60" y="T61"/>
                      </a:cxn>
                      <a:cxn ang="T153">
                        <a:pos x="T62" y="T63"/>
                      </a:cxn>
                      <a:cxn ang="T154">
                        <a:pos x="T64" y="T65"/>
                      </a:cxn>
                      <a:cxn ang="T155">
                        <a:pos x="T66" y="T67"/>
                      </a:cxn>
                      <a:cxn ang="T156">
                        <a:pos x="T68" y="T69"/>
                      </a:cxn>
                      <a:cxn ang="T157">
                        <a:pos x="T70" y="T71"/>
                      </a:cxn>
                      <a:cxn ang="T158">
                        <a:pos x="T72" y="T73"/>
                      </a:cxn>
                      <a:cxn ang="T159">
                        <a:pos x="T74" y="T75"/>
                      </a:cxn>
                      <a:cxn ang="T160">
                        <a:pos x="T76" y="T77"/>
                      </a:cxn>
                      <a:cxn ang="T161">
                        <a:pos x="T78" y="T79"/>
                      </a:cxn>
                      <a:cxn ang="T162">
                        <a:pos x="T80" y="T81"/>
                      </a:cxn>
                      <a:cxn ang="T163">
                        <a:pos x="T82" y="T83"/>
                      </a:cxn>
                      <a:cxn ang="T164">
                        <a:pos x="T84" y="T85"/>
                      </a:cxn>
                      <a:cxn ang="T165">
                        <a:pos x="T86" y="T87"/>
                      </a:cxn>
                      <a:cxn ang="T166">
                        <a:pos x="T88" y="T89"/>
                      </a:cxn>
                      <a:cxn ang="T167">
                        <a:pos x="T90" y="T91"/>
                      </a:cxn>
                      <a:cxn ang="T168">
                        <a:pos x="T92" y="T93"/>
                      </a:cxn>
                      <a:cxn ang="T169">
                        <a:pos x="T94" y="T95"/>
                      </a:cxn>
                      <a:cxn ang="T170">
                        <a:pos x="T96" y="T97"/>
                      </a:cxn>
                      <a:cxn ang="T171">
                        <a:pos x="T98" y="T99"/>
                      </a:cxn>
                      <a:cxn ang="T172">
                        <a:pos x="T100" y="T101"/>
                      </a:cxn>
                      <a:cxn ang="T173">
                        <a:pos x="T102" y="T103"/>
                      </a:cxn>
                      <a:cxn ang="T174">
                        <a:pos x="T104" y="T105"/>
                      </a:cxn>
                      <a:cxn ang="T175">
                        <a:pos x="T106" y="T107"/>
                      </a:cxn>
                      <a:cxn ang="T176">
                        <a:pos x="T108" y="T109"/>
                      </a:cxn>
                      <a:cxn ang="T177">
                        <a:pos x="T110" y="T111"/>
                      </a:cxn>
                      <a:cxn ang="T178">
                        <a:pos x="T112" y="T113"/>
                      </a:cxn>
                      <a:cxn ang="T179">
                        <a:pos x="T114" y="T115"/>
                      </a:cxn>
                      <a:cxn ang="T180">
                        <a:pos x="T116" y="T117"/>
                      </a:cxn>
                      <a:cxn ang="T181">
                        <a:pos x="T118" y="T119"/>
                      </a:cxn>
                      <a:cxn ang="T182">
                        <a:pos x="T120" y="T121"/>
                      </a:cxn>
                    </a:cxnLst>
                    <a:rect l="0" t="0" r="r" b="b"/>
                    <a:pathLst>
                      <a:path w="562" h="789">
                        <a:moveTo>
                          <a:pt x="170" y="0"/>
                        </a:moveTo>
                        <a:lnTo>
                          <a:pt x="248" y="12"/>
                        </a:lnTo>
                        <a:lnTo>
                          <a:pt x="262" y="24"/>
                        </a:lnTo>
                        <a:lnTo>
                          <a:pt x="288" y="36"/>
                        </a:lnTo>
                        <a:lnTo>
                          <a:pt x="326" y="60"/>
                        </a:lnTo>
                        <a:lnTo>
                          <a:pt x="313" y="97"/>
                        </a:lnTo>
                        <a:lnTo>
                          <a:pt x="300" y="121"/>
                        </a:lnTo>
                        <a:lnTo>
                          <a:pt x="313" y="145"/>
                        </a:lnTo>
                        <a:lnTo>
                          <a:pt x="313" y="170"/>
                        </a:lnTo>
                        <a:lnTo>
                          <a:pt x="313" y="182"/>
                        </a:lnTo>
                        <a:lnTo>
                          <a:pt x="339" y="157"/>
                        </a:lnTo>
                        <a:lnTo>
                          <a:pt x="378" y="133"/>
                        </a:lnTo>
                        <a:lnTo>
                          <a:pt x="430" y="121"/>
                        </a:lnTo>
                        <a:lnTo>
                          <a:pt x="470" y="109"/>
                        </a:lnTo>
                        <a:lnTo>
                          <a:pt x="509" y="109"/>
                        </a:lnTo>
                        <a:lnTo>
                          <a:pt x="522" y="121"/>
                        </a:lnTo>
                        <a:lnTo>
                          <a:pt x="561" y="133"/>
                        </a:lnTo>
                        <a:lnTo>
                          <a:pt x="496" y="206"/>
                        </a:lnTo>
                        <a:lnTo>
                          <a:pt x="483" y="242"/>
                        </a:lnTo>
                        <a:lnTo>
                          <a:pt x="457" y="279"/>
                        </a:lnTo>
                        <a:lnTo>
                          <a:pt x="444" y="303"/>
                        </a:lnTo>
                        <a:lnTo>
                          <a:pt x="417" y="327"/>
                        </a:lnTo>
                        <a:lnTo>
                          <a:pt x="417" y="351"/>
                        </a:lnTo>
                        <a:lnTo>
                          <a:pt x="444" y="388"/>
                        </a:lnTo>
                        <a:lnTo>
                          <a:pt x="444" y="412"/>
                        </a:lnTo>
                        <a:lnTo>
                          <a:pt x="430" y="436"/>
                        </a:lnTo>
                        <a:lnTo>
                          <a:pt x="391" y="473"/>
                        </a:lnTo>
                        <a:lnTo>
                          <a:pt x="365" y="509"/>
                        </a:lnTo>
                        <a:lnTo>
                          <a:pt x="326" y="545"/>
                        </a:lnTo>
                        <a:lnTo>
                          <a:pt x="275" y="570"/>
                        </a:lnTo>
                        <a:lnTo>
                          <a:pt x="262" y="570"/>
                        </a:lnTo>
                        <a:lnTo>
                          <a:pt x="248" y="594"/>
                        </a:lnTo>
                        <a:lnTo>
                          <a:pt x="235" y="642"/>
                        </a:lnTo>
                        <a:lnTo>
                          <a:pt x="235" y="691"/>
                        </a:lnTo>
                        <a:lnTo>
                          <a:pt x="222" y="739"/>
                        </a:lnTo>
                        <a:lnTo>
                          <a:pt x="209" y="788"/>
                        </a:lnTo>
                        <a:lnTo>
                          <a:pt x="170" y="776"/>
                        </a:lnTo>
                        <a:lnTo>
                          <a:pt x="131" y="739"/>
                        </a:lnTo>
                        <a:lnTo>
                          <a:pt x="105" y="703"/>
                        </a:lnTo>
                        <a:lnTo>
                          <a:pt x="118" y="630"/>
                        </a:lnTo>
                        <a:lnTo>
                          <a:pt x="118" y="606"/>
                        </a:lnTo>
                        <a:lnTo>
                          <a:pt x="105" y="594"/>
                        </a:lnTo>
                        <a:lnTo>
                          <a:pt x="92" y="570"/>
                        </a:lnTo>
                        <a:lnTo>
                          <a:pt x="92" y="545"/>
                        </a:lnTo>
                        <a:lnTo>
                          <a:pt x="92" y="521"/>
                        </a:lnTo>
                        <a:lnTo>
                          <a:pt x="78" y="497"/>
                        </a:lnTo>
                        <a:lnTo>
                          <a:pt x="65" y="460"/>
                        </a:lnTo>
                        <a:lnTo>
                          <a:pt x="52" y="436"/>
                        </a:lnTo>
                        <a:lnTo>
                          <a:pt x="39" y="424"/>
                        </a:lnTo>
                        <a:lnTo>
                          <a:pt x="26" y="400"/>
                        </a:lnTo>
                        <a:lnTo>
                          <a:pt x="13" y="376"/>
                        </a:lnTo>
                        <a:lnTo>
                          <a:pt x="0" y="364"/>
                        </a:lnTo>
                        <a:lnTo>
                          <a:pt x="0" y="339"/>
                        </a:lnTo>
                        <a:lnTo>
                          <a:pt x="26" y="315"/>
                        </a:lnTo>
                        <a:lnTo>
                          <a:pt x="65" y="291"/>
                        </a:lnTo>
                        <a:lnTo>
                          <a:pt x="65" y="242"/>
                        </a:lnTo>
                        <a:lnTo>
                          <a:pt x="78" y="206"/>
                        </a:lnTo>
                        <a:lnTo>
                          <a:pt x="105" y="145"/>
                        </a:lnTo>
                        <a:lnTo>
                          <a:pt x="131" y="133"/>
                        </a:lnTo>
                        <a:lnTo>
                          <a:pt x="131" y="85"/>
                        </a:lnTo>
                        <a:lnTo>
                          <a:pt x="170" y="0"/>
                        </a:lnTo>
                      </a:path>
                    </a:pathLst>
                  </a:custGeom>
                  <a:solidFill>
                    <a:srgbClr val="6DA400"/>
                  </a:solidFill>
                  <a:ln w="3175" cap="rnd" cmpd="sng">
                    <a:solidFill>
                      <a:srgbClr val="4D4D4D"/>
                    </a:solidFill>
                    <a:round/>
                    <a:headEnd type="none" w="sm" len="sm"/>
                    <a:tailEnd type="stealth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2E2E2E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21" name="Freeform 121">
                    <a:extLst>
                      <a:ext uri="{FF2B5EF4-FFF2-40B4-BE49-F238E27FC236}">
                        <a16:creationId xmlns:a16="http://schemas.microsoft.com/office/drawing/2014/main" id="{CF9A0A27-34F9-4C17-BD15-9D0D0013228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966095" y="2197249"/>
                    <a:ext cx="849312" cy="1136650"/>
                  </a:xfrm>
                  <a:custGeom>
                    <a:avLst/>
                    <a:gdLst>
                      <a:gd name="T0" fmla="*/ 256769 w 562"/>
                      <a:gd name="T1" fmla="*/ 0 h 789"/>
                      <a:gd name="T2" fmla="*/ 374581 w 562"/>
                      <a:gd name="T3" fmla="*/ 17300 h 789"/>
                      <a:gd name="T4" fmla="*/ 395726 w 562"/>
                      <a:gd name="T5" fmla="*/ 34599 h 789"/>
                      <a:gd name="T6" fmla="*/ 434997 w 562"/>
                      <a:gd name="T7" fmla="*/ 51899 h 789"/>
                      <a:gd name="T8" fmla="*/ 492392 w 562"/>
                      <a:gd name="T9" fmla="*/ 86498 h 789"/>
                      <a:gd name="T10" fmla="*/ 472757 w 562"/>
                      <a:gd name="T11" fmla="*/ 139839 h 789"/>
                      <a:gd name="T12" fmla="*/ 453122 w 562"/>
                      <a:gd name="T13" fmla="*/ 174438 h 789"/>
                      <a:gd name="T14" fmla="*/ 472757 w 562"/>
                      <a:gd name="T15" fmla="*/ 209038 h 789"/>
                      <a:gd name="T16" fmla="*/ 472757 w 562"/>
                      <a:gd name="T17" fmla="*/ 245079 h 789"/>
                      <a:gd name="T18" fmla="*/ 472757 w 562"/>
                      <a:gd name="T19" fmla="*/ 262378 h 789"/>
                      <a:gd name="T20" fmla="*/ 512028 w 562"/>
                      <a:gd name="T21" fmla="*/ 226337 h 789"/>
                      <a:gd name="T22" fmla="*/ 570933 w 562"/>
                      <a:gd name="T23" fmla="*/ 191738 h 789"/>
                      <a:gd name="T24" fmla="*/ 649474 w 562"/>
                      <a:gd name="T25" fmla="*/ 174438 h 789"/>
                      <a:gd name="T26" fmla="*/ 709891 w 562"/>
                      <a:gd name="T27" fmla="*/ 157139 h 789"/>
                      <a:gd name="T28" fmla="*/ 768796 w 562"/>
                      <a:gd name="T29" fmla="*/ 157139 h 789"/>
                      <a:gd name="T30" fmla="*/ 788432 w 562"/>
                      <a:gd name="T31" fmla="*/ 174438 h 789"/>
                      <a:gd name="T32" fmla="*/ 847338 w 562"/>
                      <a:gd name="T33" fmla="*/ 191738 h 789"/>
                      <a:gd name="T34" fmla="*/ 749161 w 562"/>
                      <a:gd name="T35" fmla="*/ 296978 h 789"/>
                      <a:gd name="T36" fmla="*/ 729526 w 562"/>
                      <a:gd name="T37" fmla="*/ 348877 h 789"/>
                      <a:gd name="T38" fmla="*/ 690255 w 562"/>
                      <a:gd name="T39" fmla="*/ 402218 h 789"/>
                      <a:gd name="T40" fmla="*/ 670620 w 562"/>
                      <a:gd name="T41" fmla="*/ 436817 h 789"/>
                      <a:gd name="T42" fmla="*/ 629839 w 562"/>
                      <a:gd name="T43" fmla="*/ 471416 h 789"/>
                      <a:gd name="T44" fmla="*/ 629839 w 562"/>
                      <a:gd name="T45" fmla="*/ 506016 h 789"/>
                      <a:gd name="T46" fmla="*/ 670620 w 562"/>
                      <a:gd name="T47" fmla="*/ 559356 h 789"/>
                      <a:gd name="T48" fmla="*/ 670620 w 562"/>
                      <a:gd name="T49" fmla="*/ 593956 h 789"/>
                      <a:gd name="T50" fmla="*/ 649474 w 562"/>
                      <a:gd name="T51" fmla="*/ 628555 h 789"/>
                      <a:gd name="T52" fmla="*/ 590569 w 562"/>
                      <a:gd name="T53" fmla="*/ 681896 h 789"/>
                      <a:gd name="T54" fmla="*/ 551298 w 562"/>
                      <a:gd name="T55" fmla="*/ 733795 h 789"/>
                      <a:gd name="T56" fmla="*/ 492392 w 562"/>
                      <a:gd name="T57" fmla="*/ 785694 h 789"/>
                      <a:gd name="T58" fmla="*/ 415362 w 562"/>
                      <a:gd name="T59" fmla="*/ 821735 h 789"/>
                      <a:gd name="T60" fmla="*/ 395726 w 562"/>
                      <a:gd name="T61" fmla="*/ 821735 h 789"/>
                      <a:gd name="T62" fmla="*/ 374581 w 562"/>
                      <a:gd name="T63" fmla="*/ 856334 h 789"/>
                      <a:gd name="T64" fmla="*/ 354945 w 562"/>
                      <a:gd name="T65" fmla="*/ 925533 h 789"/>
                      <a:gd name="T66" fmla="*/ 354945 w 562"/>
                      <a:gd name="T67" fmla="*/ 996173 h 789"/>
                      <a:gd name="T68" fmla="*/ 335310 w 562"/>
                      <a:gd name="T69" fmla="*/ 1065372 h 789"/>
                      <a:gd name="T70" fmla="*/ 315675 w 562"/>
                      <a:gd name="T71" fmla="*/ 1136012 h 789"/>
                      <a:gd name="T72" fmla="*/ 256769 w 562"/>
                      <a:gd name="T73" fmla="*/ 1118713 h 789"/>
                      <a:gd name="T74" fmla="*/ 197863 w 562"/>
                      <a:gd name="T75" fmla="*/ 1065372 h 789"/>
                      <a:gd name="T76" fmla="*/ 158593 w 562"/>
                      <a:gd name="T77" fmla="*/ 1013473 h 789"/>
                      <a:gd name="T78" fmla="*/ 178228 w 562"/>
                      <a:gd name="T79" fmla="*/ 908233 h 789"/>
                      <a:gd name="T80" fmla="*/ 178228 w 562"/>
                      <a:gd name="T81" fmla="*/ 873634 h 789"/>
                      <a:gd name="T82" fmla="*/ 158593 w 562"/>
                      <a:gd name="T83" fmla="*/ 856334 h 789"/>
                      <a:gd name="T84" fmla="*/ 138957 w 562"/>
                      <a:gd name="T85" fmla="*/ 821735 h 789"/>
                      <a:gd name="T86" fmla="*/ 138957 w 562"/>
                      <a:gd name="T87" fmla="*/ 785694 h 789"/>
                      <a:gd name="T88" fmla="*/ 138957 w 562"/>
                      <a:gd name="T89" fmla="*/ 751094 h 789"/>
                      <a:gd name="T90" fmla="*/ 117812 w 562"/>
                      <a:gd name="T91" fmla="*/ 716495 h 789"/>
                      <a:gd name="T92" fmla="*/ 98176 w 562"/>
                      <a:gd name="T93" fmla="*/ 663154 h 789"/>
                      <a:gd name="T94" fmla="*/ 78541 w 562"/>
                      <a:gd name="T95" fmla="*/ 628555 h 789"/>
                      <a:gd name="T96" fmla="*/ 58906 w 562"/>
                      <a:gd name="T97" fmla="*/ 611255 h 789"/>
                      <a:gd name="T98" fmla="*/ 39271 w 562"/>
                      <a:gd name="T99" fmla="*/ 576656 h 789"/>
                      <a:gd name="T100" fmla="*/ 19635 w 562"/>
                      <a:gd name="T101" fmla="*/ 542057 h 789"/>
                      <a:gd name="T102" fmla="*/ 0 w 562"/>
                      <a:gd name="T103" fmla="*/ 524757 h 789"/>
                      <a:gd name="T104" fmla="*/ 0 w 562"/>
                      <a:gd name="T105" fmla="*/ 488716 h 789"/>
                      <a:gd name="T106" fmla="*/ 39271 w 562"/>
                      <a:gd name="T107" fmla="*/ 454117 h 789"/>
                      <a:gd name="T108" fmla="*/ 98176 w 562"/>
                      <a:gd name="T109" fmla="*/ 419517 h 789"/>
                      <a:gd name="T110" fmla="*/ 98176 w 562"/>
                      <a:gd name="T111" fmla="*/ 348877 h 789"/>
                      <a:gd name="T112" fmla="*/ 117812 w 562"/>
                      <a:gd name="T113" fmla="*/ 296978 h 789"/>
                      <a:gd name="T114" fmla="*/ 158593 w 562"/>
                      <a:gd name="T115" fmla="*/ 209038 h 789"/>
                      <a:gd name="T116" fmla="*/ 197863 w 562"/>
                      <a:gd name="T117" fmla="*/ 191738 h 789"/>
                      <a:gd name="T118" fmla="*/ 197863 w 562"/>
                      <a:gd name="T119" fmla="*/ 122539 h 789"/>
                      <a:gd name="T120" fmla="*/ 256769 w 562"/>
                      <a:gd name="T121" fmla="*/ 0 h 789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</a:gdLst>
                    <a:ahLst/>
                    <a:cxnLst>
                      <a:cxn ang="T122">
                        <a:pos x="T0" y="T1"/>
                      </a:cxn>
                      <a:cxn ang="T123">
                        <a:pos x="T2" y="T3"/>
                      </a:cxn>
                      <a:cxn ang="T124">
                        <a:pos x="T4" y="T5"/>
                      </a:cxn>
                      <a:cxn ang="T125">
                        <a:pos x="T6" y="T7"/>
                      </a:cxn>
                      <a:cxn ang="T126">
                        <a:pos x="T8" y="T9"/>
                      </a:cxn>
                      <a:cxn ang="T127">
                        <a:pos x="T10" y="T11"/>
                      </a:cxn>
                      <a:cxn ang="T128">
                        <a:pos x="T12" y="T13"/>
                      </a:cxn>
                      <a:cxn ang="T129">
                        <a:pos x="T14" y="T15"/>
                      </a:cxn>
                      <a:cxn ang="T130">
                        <a:pos x="T16" y="T17"/>
                      </a:cxn>
                      <a:cxn ang="T131">
                        <a:pos x="T18" y="T19"/>
                      </a:cxn>
                      <a:cxn ang="T132">
                        <a:pos x="T20" y="T21"/>
                      </a:cxn>
                      <a:cxn ang="T133">
                        <a:pos x="T22" y="T23"/>
                      </a:cxn>
                      <a:cxn ang="T134">
                        <a:pos x="T24" y="T25"/>
                      </a:cxn>
                      <a:cxn ang="T135">
                        <a:pos x="T26" y="T27"/>
                      </a:cxn>
                      <a:cxn ang="T136">
                        <a:pos x="T28" y="T29"/>
                      </a:cxn>
                      <a:cxn ang="T137">
                        <a:pos x="T30" y="T31"/>
                      </a:cxn>
                      <a:cxn ang="T138">
                        <a:pos x="T32" y="T33"/>
                      </a:cxn>
                      <a:cxn ang="T139">
                        <a:pos x="T34" y="T35"/>
                      </a:cxn>
                      <a:cxn ang="T140">
                        <a:pos x="T36" y="T37"/>
                      </a:cxn>
                      <a:cxn ang="T141">
                        <a:pos x="T38" y="T39"/>
                      </a:cxn>
                      <a:cxn ang="T142">
                        <a:pos x="T40" y="T41"/>
                      </a:cxn>
                      <a:cxn ang="T143">
                        <a:pos x="T42" y="T43"/>
                      </a:cxn>
                      <a:cxn ang="T144">
                        <a:pos x="T44" y="T45"/>
                      </a:cxn>
                      <a:cxn ang="T145">
                        <a:pos x="T46" y="T47"/>
                      </a:cxn>
                      <a:cxn ang="T146">
                        <a:pos x="T48" y="T49"/>
                      </a:cxn>
                      <a:cxn ang="T147">
                        <a:pos x="T50" y="T51"/>
                      </a:cxn>
                      <a:cxn ang="T148">
                        <a:pos x="T52" y="T53"/>
                      </a:cxn>
                      <a:cxn ang="T149">
                        <a:pos x="T54" y="T55"/>
                      </a:cxn>
                      <a:cxn ang="T150">
                        <a:pos x="T56" y="T57"/>
                      </a:cxn>
                      <a:cxn ang="T151">
                        <a:pos x="T58" y="T59"/>
                      </a:cxn>
                      <a:cxn ang="T152">
                        <a:pos x="T60" y="T61"/>
                      </a:cxn>
                      <a:cxn ang="T153">
                        <a:pos x="T62" y="T63"/>
                      </a:cxn>
                      <a:cxn ang="T154">
                        <a:pos x="T64" y="T65"/>
                      </a:cxn>
                      <a:cxn ang="T155">
                        <a:pos x="T66" y="T67"/>
                      </a:cxn>
                      <a:cxn ang="T156">
                        <a:pos x="T68" y="T69"/>
                      </a:cxn>
                      <a:cxn ang="T157">
                        <a:pos x="T70" y="T71"/>
                      </a:cxn>
                      <a:cxn ang="T158">
                        <a:pos x="T72" y="T73"/>
                      </a:cxn>
                      <a:cxn ang="T159">
                        <a:pos x="T74" y="T75"/>
                      </a:cxn>
                      <a:cxn ang="T160">
                        <a:pos x="T76" y="T77"/>
                      </a:cxn>
                      <a:cxn ang="T161">
                        <a:pos x="T78" y="T79"/>
                      </a:cxn>
                      <a:cxn ang="T162">
                        <a:pos x="T80" y="T81"/>
                      </a:cxn>
                      <a:cxn ang="T163">
                        <a:pos x="T82" y="T83"/>
                      </a:cxn>
                      <a:cxn ang="T164">
                        <a:pos x="T84" y="T85"/>
                      </a:cxn>
                      <a:cxn ang="T165">
                        <a:pos x="T86" y="T87"/>
                      </a:cxn>
                      <a:cxn ang="T166">
                        <a:pos x="T88" y="T89"/>
                      </a:cxn>
                      <a:cxn ang="T167">
                        <a:pos x="T90" y="T91"/>
                      </a:cxn>
                      <a:cxn ang="T168">
                        <a:pos x="T92" y="T93"/>
                      </a:cxn>
                      <a:cxn ang="T169">
                        <a:pos x="T94" y="T95"/>
                      </a:cxn>
                      <a:cxn ang="T170">
                        <a:pos x="T96" y="T97"/>
                      </a:cxn>
                      <a:cxn ang="T171">
                        <a:pos x="T98" y="T99"/>
                      </a:cxn>
                      <a:cxn ang="T172">
                        <a:pos x="T100" y="T101"/>
                      </a:cxn>
                      <a:cxn ang="T173">
                        <a:pos x="T102" y="T103"/>
                      </a:cxn>
                      <a:cxn ang="T174">
                        <a:pos x="T104" y="T105"/>
                      </a:cxn>
                      <a:cxn ang="T175">
                        <a:pos x="T106" y="T107"/>
                      </a:cxn>
                      <a:cxn ang="T176">
                        <a:pos x="T108" y="T109"/>
                      </a:cxn>
                      <a:cxn ang="T177">
                        <a:pos x="T110" y="T111"/>
                      </a:cxn>
                      <a:cxn ang="T178">
                        <a:pos x="T112" y="T113"/>
                      </a:cxn>
                      <a:cxn ang="T179">
                        <a:pos x="T114" y="T115"/>
                      </a:cxn>
                      <a:cxn ang="T180">
                        <a:pos x="T116" y="T117"/>
                      </a:cxn>
                      <a:cxn ang="T181">
                        <a:pos x="T118" y="T119"/>
                      </a:cxn>
                      <a:cxn ang="T182">
                        <a:pos x="T120" y="T121"/>
                      </a:cxn>
                    </a:cxnLst>
                    <a:rect l="0" t="0" r="r" b="b"/>
                    <a:pathLst>
                      <a:path w="562" h="789">
                        <a:moveTo>
                          <a:pt x="170" y="0"/>
                        </a:moveTo>
                        <a:lnTo>
                          <a:pt x="248" y="12"/>
                        </a:lnTo>
                        <a:lnTo>
                          <a:pt x="262" y="24"/>
                        </a:lnTo>
                        <a:lnTo>
                          <a:pt x="288" y="36"/>
                        </a:lnTo>
                        <a:lnTo>
                          <a:pt x="326" y="60"/>
                        </a:lnTo>
                        <a:lnTo>
                          <a:pt x="313" y="97"/>
                        </a:lnTo>
                        <a:lnTo>
                          <a:pt x="300" y="121"/>
                        </a:lnTo>
                        <a:lnTo>
                          <a:pt x="313" y="145"/>
                        </a:lnTo>
                        <a:lnTo>
                          <a:pt x="313" y="170"/>
                        </a:lnTo>
                        <a:lnTo>
                          <a:pt x="313" y="182"/>
                        </a:lnTo>
                        <a:lnTo>
                          <a:pt x="339" y="157"/>
                        </a:lnTo>
                        <a:lnTo>
                          <a:pt x="378" y="133"/>
                        </a:lnTo>
                        <a:lnTo>
                          <a:pt x="430" y="121"/>
                        </a:lnTo>
                        <a:lnTo>
                          <a:pt x="470" y="109"/>
                        </a:lnTo>
                        <a:lnTo>
                          <a:pt x="509" y="109"/>
                        </a:lnTo>
                        <a:lnTo>
                          <a:pt x="522" y="121"/>
                        </a:lnTo>
                        <a:lnTo>
                          <a:pt x="561" y="133"/>
                        </a:lnTo>
                        <a:lnTo>
                          <a:pt x="496" y="206"/>
                        </a:lnTo>
                        <a:lnTo>
                          <a:pt x="483" y="242"/>
                        </a:lnTo>
                        <a:lnTo>
                          <a:pt x="457" y="279"/>
                        </a:lnTo>
                        <a:lnTo>
                          <a:pt x="444" y="303"/>
                        </a:lnTo>
                        <a:lnTo>
                          <a:pt x="417" y="327"/>
                        </a:lnTo>
                        <a:lnTo>
                          <a:pt x="417" y="351"/>
                        </a:lnTo>
                        <a:lnTo>
                          <a:pt x="444" y="388"/>
                        </a:lnTo>
                        <a:lnTo>
                          <a:pt x="444" y="412"/>
                        </a:lnTo>
                        <a:lnTo>
                          <a:pt x="430" y="436"/>
                        </a:lnTo>
                        <a:lnTo>
                          <a:pt x="391" y="473"/>
                        </a:lnTo>
                        <a:lnTo>
                          <a:pt x="365" y="509"/>
                        </a:lnTo>
                        <a:lnTo>
                          <a:pt x="326" y="545"/>
                        </a:lnTo>
                        <a:lnTo>
                          <a:pt x="275" y="570"/>
                        </a:lnTo>
                        <a:lnTo>
                          <a:pt x="262" y="570"/>
                        </a:lnTo>
                        <a:lnTo>
                          <a:pt x="248" y="594"/>
                        </a:lnTo>
                        <a:lnTo>
                          <a:pt x="235" y="642"/>
                        </a:lnTo>
                        <a:lnTo>
                          <a:pt x="235" y="691"/>
                        </a:lnTo>
                        <a:lnTo>
                          <a:pt x="222" y="739"/>
                        </a:lnTo>
                        <a:lnTo>
                          <a:pt x="209" y="788"/>
                        </a:lnTo>
                        <a:lnTo>
                          <a:pt x="170" y="776"/>
                        </a:lnTo>
                        <a:lnTo>
                          <a:pt x="131" y="739"/>
                        </a:lnTo>
                        <a:lnTo>
                          <a:pt x="105" y="703"/>
                        </a:lnTo>
                        <a:lnTo>
                          <a:pt x="118" y="630"/>
                        </a:lnTo>
                        <a:lnTo>
                          <a:pt x="118" y="606"/>
                        </a:lnTo>
                        <a:lnTo>
                          <a:pt x="105" y="594"/>
                        </a:lnTo>
                        <a:lnTo>
                          <a:pt x="92" y="570"/>
                        </a:lnTo>
                        <a:lnTo>
                          <a:pt x="92" y="545"/>
                        </a:lnTo>
                        <a:lnTo>
                          <a:pt x="92" y="521"/>
                        </a:lnTo>
                        <a:lnTo>
                          <a:pt x="78" y="497"/>
                        </a:lnTo>
                        <a:lnTo>
                          <a:pt x="65" y="460"/>
                        </a:lnTo>
                        <a:lnTo>
                          <a:pt x="52" y="436"/>
                        </a:lnTo>
                        <a:lnTo>
                          <a:pt x="39" y="424"/>
                        </a:lnTo>
                        <a:lnTo>
                          <a:pt x="26" y="400"/>
                        </a:lnTo>
                        <a:lnTo>
                          <a:pt x="13" y="376"/>
                        </a:lnTo>
                        <a:lnTo>
                          <a:pt x="0" y="364"/>
                        </a:lnTo>
                        <a:lnTo>
                          <a:pt x="0" y="339"/>
                        </a:lnTo>
                        <a:lnTo>
                          <a:pt x="26" y="315"/>
                        </a:lnTo>
                        <a:lnTo>
                          <a:pt x="65" y="291"/>
                        </a:lnTo>
                        <a:lnTo>
                          <a:pt x="65" y="242"/>
                        </a:lnTo>
                        <a:lnTo>
                          <a:pt x="78" y="206"/>
                        </a:lnTo>
                        <a:lnTo>
                          <a:pt x="105" y="145"/>
                        </a:lnTo>
                        <a:lnTo>
                          <a:pt x="131" y="133"/>
                        </a:lnTo>
                        <a:lnTo>
                          <a:pt x="131" y="85"/>
                        </a:lnTo>
                        <a:lnTo>
                          <a:pt x="170" y="0"/>
                        </a:lnTo>
                      </a:path>
                    </a:pathLst>
                  </a:custGeom>
                  <a:gradFill rotWithShape="1">
                    <a:gsLst>
                      <a:gs pos="0">
                        <a:srgbClr val="004D00"/>
                      </a:gs>
                      <a:gs pos="50000">
                        <a:srgbClr val="007300"/>
                      </a:gs>
                      <a:gs pos="100000">
                        <a:srgbClr val="008A00"/>
                      </a:gs>
                    </a:gsLst>
                    <a:lin ang="13500000" scaled="1"/>
                  </a:gradFill>
                  <a:ln w="12700" cap="rnd" cmpd="sng">
                    <a:solidFill>
                      <a:srgbClr val="A3F55D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629338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22" name="Freeform 122">
                    <a:extLst>
                      <a:ext uri="{FF2B5EF4-FFF2-40B4-BE49-F238E27FC236}">
                        <a16:creationId xmlns:a16="http://schemas.microsoft.com/office/drawing/2014/main" id="{45F275A8-C0A5-4840-B077-CFC5E415271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688282" y="2651274"/>
                    <a:ext cx="731838" cy="1239837"/>
                  </a:xfrm>
                  <a:custGeom>
                    <a:avLst/>
                    <a:gdLst>
                      <a:gd name="T0" fmla="*/ 630925 w 484"/>
                      <a:gd name="T1" fmla="*/ 626751 h 862"/>
                      <a:gd name="T2" fmla="*/ 552249 w 484"/>
                      <a:gd name="T3" fmla="*/ 626751 h 862"/>
                      <a:gd name="T4" fmla="*/ 532580 w 484"/>
                      <a:gd name="T5" fmla="*/ 609500 h 862"/>
                      <a:gd name="T6" fmla="*/ 493241 w 484"/>
                      <a:gd name="T7" fmla="*/ 592250 h 862"/>
                      <a:gd name="T8" fmla="*/ 473572 w 484"/>
                      <a:gd name="T9" fmla="*/ 540500 h 862"/>
                      <a:gd name="T10" fmla="*/ 473572 w 484"/>
                      <a:gd name="T11" fmla="*/ 452813 h 862"/>
                      <a:gd name="T12" fmla="*/ 493241 w 484"/>
                      <a:gd name="T13" fmla="*/ 418313 h 862"/>
                      <a:gd name="T14" fmla="*/ 453903 w 484"/>
                      <a:gd name="T15" fmla="*/ 383813 h 862"/>
                      <a:gd name="T16" fmla="*/ 434234 w 484"/>
                      <a:gd name="T17" fmla="*/ 330625 h 862"/>
                      <a:gd name="T18" fmla="*/ 434234 w 484"/>
                      <a:gd name="T19" fmla="*/ 296125 h 862"/>
                      <a:gd name="T20" fmla="*/ 414565 w 484"/>
                      <a:gd name="T21" fmla="*/ 208438 h 862"/>
                      <a:gd name="T22" fmla="*/ 373714 w 484"/>
                      <a:gd name="T23" fmla="*/ 156688 h 862"/>
                      <a:gd name="T24" fmla="*/ 316219 w 484"/>
                      <a:gd name="T25" fmla="*/ 104938 h 862"/>
                      <a:gd name="T26" fmla="*/ 276881 w 484"/>
                      <a:gd name="T27" fmla="*/ 0 h 862"/>
                      <a:gd name="T28" fmla="*/ 198204 w 484"/>
                      <a:gd name="T29" fmla="*/ 70438 h 862"/>
                      <a:gd name="T30" fmla="*/ 198204 w 484"/>
                      <a:gd name="T31" fmla="*/ 156688 h 862"/>
                      <a:gd name="T32" fmla="*/ 178535 w 484"/>
                      <a:gd name="T33" fmla="*/ 191188 h 862"/>
                      <a:gd name="T34" fmla="*/ 198204 w 484"/>
                      <a:gd name="T35" fmla="*/ 244375 h 862"/>
                      <a:gd name="T36" fmla="*/ 137684 w 484"/>
                      <a:gd name="T37" fmla="*/ 261625 h 862"/>
                      <a:gd name="T38" fmla="*/ 137684 w 484"/>
                      <a:gd name="T39" fmla="*/ 313375 h 862"/>
                      <a:gd name="T40" fmla="*/ 137684 w 484"/>
                      <a:gd name="T41" fmla="*/ 366563 h 862"/>
                      <a:gd name="T42" fmla="*/ 137684 w 484"/>
                      <a:gd name="T43" fmla="*/ 401063 h 862"/>
                      <a:gd name="T44" fmla="*/ 118015 w 484"/>
                      <a:gd name="T45" fmla="*/ 452813 h 862"/>
                      <a:gd name="T46" fmla="*/ 59007 w 484"/>
                      <a:gd name="T47" fmla="*/ 557750 h 862"/>
                      <a:gd name="T48" fmla="*/ 59007 w 484"/>
                      <a:gd name="T49" fmla="*/ 609500 h 862"/>
                      <a:gd name="T50" fmla="*/ 98346 w 484"/>
                      <a:gd name="T51" fmla="*/ 645438 h 862"/>
                      <a:gd name="T52" fmla="*/ 78677 w 484"/>
                      <a:gd name="T53" fmla="*/ 714438 h 862"/>
                      <a:gd name="T54" fmla="*/ 39338 w 484"/>
                      <a:gd name="T55" fmla="*/ 766188 h 862"/>
                      <a:gd name="T56" fmla="*/ 39338 w 484"/>
                      <a:gd name="T57" fmla="*/ 819376 h 862"/>
                      <a:gd name="T58" fmla="*/ 19669 w 484"/>
                      <a:gd name="T59" fmla="*/ 905626 h 862"/>
                      <a:gd name="T60" fmla="*/ 19669 w 484"/>
                      <a:gd name="T61" fmla="*/ 922876 h 862"/>
                      <a:gd name="T62" fmla="*/ 0 w 484"/>
                      <a:gd name="T63" fmla="*/ 976063 h 862"/>
                      <a:gd name="T64" fmla="*/ 0 w 484"/>
                      <a:gd name="T65" fmla="*/ 1045063 h 862"/>
                      <a:gd name="T66" fmla="*/ 0 w 484"/>
                      <a:gd name="T67" fmla="*/ 1081001 h 862"/>
                      <a:gd name="T68" fmla="*/ 19669 w 484"/>
                      <a:gd name="T69" fmla="*/ 1098251 h 862"/>
                      <a:gd name="T70" fmla="*/ 59007 w 484"/>
                      <a:gd name="T71" fmla="*/ 1115501 h 862"/>
                      <a:gd name="T72" fmla="*/ 98346 w 484"/>
                      <a:gd name="T73" fmla="*/ 1132751 h 862"/>
                      <a:gd name="T74" fmla="*/ 118015 w 484"/>
                      <a:gd name="T75" fmla="*/ 1184501 h 862"/>
                      <a:gd name="T76" fmla="*/ 158866 w 484"/>
                      <a:gd name="T77" fmla="*/ 1237688 h 862"/>
                      <a:gd name="T78" fmla="*/ 237543 w 484"/>
                      <a:gd name="T79" fmla="*/ 1219001 h 862"/>
                      <a:gd name="T80" fmla="*/ 316219 w 484"/>
                      <a:gd name="T81" fmla="*/ 1167251 h 862"/>
                      <a:gd name="T82" fmla="*/ 393383 w 484"/>
                      <a:gd name="T83" fmla="*/ 1150001 h 862"/>
                      <a:gd name="T84" fmla="*/ 453903 w 484"/>
                      <a:gd name="T85" fmla="*/ 1167251 h 862"/>
                      <a:gd name="T86" fmla="*/ 532580 w 484"/>
                      <a:gd name="T87" fmla="*/ 1132751 h 862"/>
                      <a:gd name="T88" fmla="*/ 552249 w 484"/>
                      <a:gd name="T89" fmla="*/ 1132751 h 862"/>
                      <a:gd name="T90" fmla="*/ 591587 w 484"/>
                      <a:gd name="T91" fmla="*/ 1115501 h 862"/>
                      <a:gd name="T92" fmla="*/ 611256 w 484"/>
                      <a:gd name="T93" fmla="*/ 1062313 h 862"/>
                      <a:gd name="T94" fmla="*/ 611256 w 484"/>
                      <a:gd name="T95" fmla="*/ 993313 h 862"/>
                      <a:gd name="T96" fmla="*/ 611256 w 484"/>
                      <a:gd name="T97" fmla="*/ 958813 h 862"/>
                      <a:gd name="T98" fmla="*/ 630925 w 484"/>
                      <a:gd name="T99" fmla="*/ 905626 h 862"/>
                      <a:gd name="T100" fmla="*/ 630925 w 484"/>
                      <a:gd name="T101" fmla="*/ 853876 h 862"/>
                      <a:gd name="T102" fmla="*/ 650594 w 484"/>
                      <a:gd name="T103" fmla="*/ 819376 h 862"/>
                      <a:gd name="T104" fmla="*/ 730784 w 484"/>
                      <a:gd name="T105" fmla="*/ 748938 h 862"/>
                      <a:gd name="T106" fmla="*/ 630925 w 484"/>
                      <a:gd name="T107" fmla="*/ 626751 h 862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0" t="0" r="r" b="b"/>
                    <a:pathLst>
                      <a:path w="484" h="862">
                        <a:moveTo>
                          <a:pt x="417" y="436"/>
                        </a:moveTo>
                        <a:lnTo>
                          <a:pt x="365" y="436"/>
                        </a:lnTo>
                        <a:lnTo>
                          <a:pt x="352" y="424"/>
                        </a:lnTo>
                        <a:lnTo>
                          <a:pt x="326" y="412"/>
                        </a:lnTo>
                        <a:lnTo>
                          <a:pt x="313" y="376"/>
                        </a:lnTo>
                        <a:lnTo>
                          <a:pt x="313" y="315"/>
                        </a:lnTo>
                        <a:lnTo>
                          <a:pt x="326" y="291"/>
                        </a:lnTo>
                        <a:lnTo>
                          <a:pt x="300" y="267"/>
                        </a:lnTo>
                        <a:lnTo>
                          <a:pt x="287" y="230"/>
                        </a:lnTo>
                        <a:lnTo>
                          <a:pt x="287" y="206"/>
                        </a:lnTo>
                        <a:lnTo>
                          <a:pt x="274" y="145"/>
                        </a:lnTo>
                        <a:lnTo>
                          <a:pt x="247" y="109"/>
                        </a:lnTo>
                        <a:lnTo>
                          <a:pt x="209" y="73"/>
                        </a:lnTo>
                        <a:lnTo>
                          <a:pt x="183" y="0"/>
                        </a:lnTo>
                        <a:lnTo>
                          <a:pt x="131" y="49"/>
                        </a:lnTo>
                        <a:lnTo>
                          <a:pt x="131" y="109"/>
                        </a:lnTo>
                        <a:lnTo>
                          <a:pt x="118" y="133"/>
                        </a:lnTo>
                        <a:lnTo>
                          <a:pt x="131" y="170"/>
                        </a:lnTo>
                        <a:lnTo>
                          <a:pt x="91" y="182"/>
                        </a:lnTo>
                        <a:lnTo>
                          <a:pt x="91" y="218"/>
                        </a:lnTo>
                        <a:lnTo>
                          <a:pt x="91" y="255"/>
                        </a:lnTo>
                        <a:lnTo>
                          <a:pt x="91" y="279"/>
                        </a:lnTo>
                        <a:lnTo>
                          <a:pt x="78" y="315"/>
                        </a:lnTo>
                        <a:lnTo>
                          <a:pt x="39" y="388"/>
                        </a:lnTo>
                        <a:lnTo>
                          <a:pt x="39" y="424"/>
                        </a:lnTo>
                        <a:lnTo>
                          <a:pt x="65" y="449"/>
                        </a:lnTo>
                        <a:lnTo>
                          <a:pt x="52" y="497"/>
                        </a:lnTo>
                        <a:lnTo>
                          <a:pt x="26" y="533"/>
                        </a:lnTo>
                        <a:lnTo>
                          <a:pt x="26" y="570"/>
                        </a:lnTo>
                        <a:lnTo>
                          <a:pt x="13" y="630"/>
                        </a:lnTo>
                        <a:lnTo>
                          <a:pt x="13" y="642"/>
                        </a:lnTo>
                        <a:lnTo>
                          <a:pt x="0" y="679"/>
                        </a:lnTo>
                        <a:lnTo>
                          <a:pt x="0" y="727"/>
                        </a:lnTo>
                        <a:lnTo>
                          <a:pt x="0" y="752"/>
                        </a:lnTo>
                        <a:lnTo>
                          <a:pt x="13" y="764"/>
                        </a:lnTo>
                        <a:lnTo>
                          <a:pt x="39" y="776"/>
                        </a:lnTo>
                        <a:lnTo>
                          <a:pt x="65" y="788"/>
                        </a:lnTo>
                        <a:lnTo>
                          <a:pt x="78" y="824"/>
                        </a:lnTo>
                        <a:lnTo>
                          <a:pt x="105" y="861"/>
                        </a:lnTo>
                        <a:lnTo>
                          <a:pt x="157" y="848"/>
                        </a:lnTo>
                        <a:lnTo>
                          <a:pt x="209" y="812"/>
                        </a:lnTo>
                        <a:lnTo>
                          <a:pt x="260" y="800"/>
                        </a:lnTo>
                        <a:lnTo>
                          <a:pt x="300" y="812"/>
                        </a:lnTo>
                        <a:lnTo>
                          <a:pt x="352" y="788"/>
                        </a:lnTo>
                        <a:lnTo>
                          <a:pt x="365" y="788"/>
                        </a:lnTo>
                        <a:lnTo>
                          <a:pt x="391" y="776"/>
                        </a:lnTo>
                        <a:lnTo>
                          <a:pt x="404" y="739"/>
                        </a:lnTo>
                        <a:lnTo>
                          <a:pt x="404" y="691"/>
                        </a:lnTo>
                        <a:lnTo>
                          <a:pt x="404" y="667"/>
                        </a:lnTo>
                        <a:lnTo>
                          <a:pt x="417" y="630"/>
                        </a:lnTo>
                        <a:lnTo>
                          <a:pt x="417" y="594"/>
                        </a:lnTo>
                        <a:lnTo>
                          <a:pt x="430" y="570"/>
                        </a:lnTo>
                        <a:lnTo>
                          <a:pt x="483" y="521"/>
                        </a:lnTo>
                        <a:lnTo>
                          <a:pt x="417" y="436"/>
                        </a:lnTo>
                      </a:path>
                    </a:pathLst>
                  </a:custGeom>
                  <a:solidFill>
                    <a:srgbClr val="6DA400"/>
                  </a:solidFill>
                  <a:ln w="3175" cap="rnd" cmpd="sng">
                    <a:solidFill>
                      <a:srgbClr val="4D4D4D"/>
                    </a:solidFill>
                    <a:round/>
                    <a:headEnd type="none" w="sm" len="sm"/>
                    <a:tailEnd type="stealth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2E2E2E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23" name="Freeform 123">
                    <a:extLst>
                      <a:ext uri="{FF2B5EF4-FFF2-40B4-BE49-F238E27FC236}">
                        <a16:creationId xmlns:a16="http://schemas.microsoft.com/office/drawing/2014/main" id="{3A53D797-B8C3-41D2-82D0-66D8CCB10FE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688282" y="2651274"/>
                    <a:ext cx="731838" cy="1239837"/>
                  </a:xfrm>
                  <a:custGeom>
                    <a:avLst/>
                    <a:gdLst>
                      <a:gd name="T0" fmla="*/ 630925 w 484"/>
                      <a:gd name="T1" fmla="*/ 626751 h 862"/>
                      <a:gd name="T2" fmla="*/ 552249 w 484"/>
                      <a:gd name="T3" fmla="*/ 626751 h 862"/>
                      <a:gd name="T4" fmla="*/ 532580 w 484"/>
                      <a:gd name="T5" fmla="*/ 609500 h 862"/>
                      <a:gd name="T6" fmla="*/ 493241 w 484"/>
                      <a:gd name="T7" fmla="*/ 592250 h 862"/>
                      <a:gd name="T8" fmla="*/ 473572 w 484"/>
                      <a:gd name="T9" fmla="*/ 540500 h 862"/>
                      <a:gd name="T10" fmla="*/ 473572 w 484"/>
                      <a:gd name="T11" fmla="*/ 452813 h 862"/>
                      <a:gd name="T12" fmla="*/ 493241 w 484"/>
                      <a:gd name="T13" fmla="*/ 418313 h 862"/>
                      <a:gd name="T14" fmla="*/ 453903 w 484"/>
                      <a:gd name="T15" fmla="*/ 383813 h 862"/>
                      <a:gd name="T16" fmla="*/ 434234 w 484"/>
                      <a:gd name="T17" fmla="*/ 330625 h 862"/>
                      <a:gd name="T18" fmla="*/ 434234 w 484"/>
                      <a:gd name="T19" fmla="*/ 296125 h 862"/>
                      <a:gd name="T20" fmla="*/ 414565 w 484"/>
                      <a:gd name="T21" fmla="*/ 208438 h 862"/>
                      <a:gd name="T22" fmla="*/ 373714 w 484"/>
                      <a:gd name="T23" fmla="*/ 156688 h 862"/>
                      <a:gd name="T24" fmla="*/ 316219 w 484"/>
                      <a:gd name="T25" fmla="*/ 104938 h 862"/>
                      <a:gd name="T26" fmla="*/ 276881 w 484"/>
                      <a:gd name="T27" fmla="*/ 0 h 862"/>
                      <a:gd name="T28" fmla="*/ 198204 w 484"/>
                      <a:gd name="T29" fmla="*/ 70438 h 862"/>
                      <a:gd name="T30" fmla="*/ 198204 w 484"/>
                      <a:gd name="T31" fmla="*/ 156688 h 862"/>
                      <a:gd name="T32" fmla="*/ 178535 w 484"/>
                      <a:gd name="T33" fmla="*/ 191188 h 862"/>
                      <a:gd name="T34" fmla="*/ 198204 w 484"/>
                      <a:gd name="T35" fmla="*/ 244375 h 862"/>
                      <a:gd name="T36" fmla="*/ 137684 w 484"/>
                      <a:gd name="T37" fmla="*/ 261625 h 862"/>
                      <a:gd name="T38" fmla="*/ 137684 w 484"/>
                      <a:gd name="T39" fmla="*/ 313375 h 862"/>
                      <a:gd name="T40" fmla="*/ 137684 w 484"/>
                      <a:gd name="T41" fmla="*/ 366563 h 862"/>
                      <a:gd name="T42" fmla="*/ 137684 w 484"/>
                      <a:gd name="T43" fmla="*/ 401063 h 862"/>
                      <a:gd name="T44" fmla="*/ 118015 w 484"/>
                      <a:gd name="T45" fmla="*/ 452813 h 862"/>
                      <a:gd name="T46" fmla="*/ 59007 w 484"/>
                      <a:gd name="T47" fmla="*/ 557750 h 862"/>
                      <a:gd name="T48" fmla="*/ 59007 w 484"/>
                      <a:gd name="T49" fmla="*/ 609500 h 862"/>
                      <a:gd name="T50" fmla="*/ 98346 w 484"/>
                      <a:gd name="T51" fmla="*/ 645438 h 862"/>
                      <a:gd name="T52" fmla="*/ 78677 w 484"/>
                      <a:gd name="T53" fmla="*/ 714438 h 862"/>
                      <a:gd name="T54" fmla="*/ 39338 w 484"/>
                      <a:gd name="T55" fmla="*/ 766188 h 862"/>
                      <a:gd name="T56" fmla="*/ 39338 w 484"/>
                      <a:gd name="T57" fmla="*/ 819376 h 862"/>
                      <a:gd name="T58" fmla="*/ 19669 w 484"/>
                      <a:gd name="T59" fmla="*/ 905626 h 862"/>
                      <a:gd name="T60" fmla="*/ 19669 w 484"/>
                      <a:gd name="T61" fmla="*/ 922876 h 862"/>
                      <a:gd name="T62" fmla="*/ 0 w 484"/>
                      <a:gd name="T63" fmla="*/ 976063 h 862"/>
                      <a:gd name="T64" fmla="*/ 0 w 484"/>
                      <a:gd name="T65" fmla="*/ 1045063 h 862"/>
                      <a:gd name="T66" fmla="*/ 0 w 484"/>
                      <a:gd name="T67" fmla="*/ 1081001 h 862"/>
                      <a:gd name="T68" fmla="*/ 19669 w 484"/>
                      <a:gd name="T69" fmla="*/ 1098251 h 862"/>
                      <a:gd name="T70" fmla="*/ 59007 w 484"/>
                      <a:gd name="T71" fmla="*/ 1115501 h 862"/>
                      <a:gd name="T72" fmla="*/ 98346 w 484"/>
                      <a:gd name="T73" fmla="*/ 1132751 h 862"/>
                      <a:gd name="T74" fmla="*/ 118015 w 484"/>
                      <a:gd name="T75" fmla="*/ 1184501 h 862"/>
                      <a:gd name="T76" fmla="*/ 158866 w 484"/>
                      <a:gd name="T77" fmla="*/ 1237688 h 862"/>
                      <a:gd name="T78" fmla="*/ 237543 w 484"/>
                      <a:gd name="T79" fmla="*/ 1219001 h 862"/>
                      <a:gd name="T80" fmla="*/ 316219 w 484"/>
                      <a:gd name="T81" fmla="*/ 1167251 h 862"/>
                      <a:gd name="T82" fmla="*/ 393383 w 484"/>
                      <a:gd name="T83" fmla="*/ 1150001 h 862"/>
                      <a:gd name="T84" fmla="*/ 453903 w 484"/>
                      <a:gd name="T85" fmla="*/ 1167251 h 862"/>
                      <a:gd name="T86" fmla="*/ 532580 w 484"/>
                      <a:gd name="T87" fmla="*/ 1132751 h 862"/>
                      <a:gd name="T88" fmla="*/ 552249 w 484"/>
                      <a:gd name="T89" fmla="*/ 1132751 h 862"/>
                      <a:gd name="T90" fmla="*/ 591587 w 484"/>
                      <a:gd name="T91" fmla="*/ 1115501 h 862"/>
                      <a:gd name="T92" fmla="*/ 611256 w 484"/>
                      <a:gd name="T93" fmla="*/ 1062313 h 862"/>
                      <a:gd name="T94" fmla="*/ 611256 w 484"/>
                      <a:gd name="T95" fmla="*/ 993313 h 862"/>
                      <a:gd name="T96" fmla="*/ 611256 w 484"/>
                      <a:gd name="T97" fmla="*/ 958813 h 862"/>
                      <a:gd name="T98" fmla="*/ 630925 w 484"/>
                      <a:gd name="T99" fmla="*/ 905626 h 862"/>
                      <a:gd name="T100" fmla="*/ 630925 w 484"/>
                      <a:gd name="T101" fmla="*/ 853876 h 862"/>
                      <a:gd name="T102" fmla="*/ 650594 w 484"/>
                      <a:gd name="T103" fmla="*/ 819376 h 862"/>
                      <a:gd name="T104" fmla="*/ 730784 w 484"/>
                      <a:gd name="T105" fmla="*/ 748938 h 862"/>
                      <a:gd name="T106" fmla="*/ 630925 w 484"/>
                      <a:gd name="T107" fmla="*/ 626751 h 862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0" t="0" r="r" b="b"/>
                    <a:pathLst>
                      <a:path w="484" h="862">
                        <a:moveTo>
                          <a:pt x="417" y="436"/>
                        </a:moveTo>
                        <a:lnTo>
                          <a:pt x="365" y="436"/>
                        </a:lnTo>
                        <a:lnTo>
                          <a:pt x="352" y="424"/>
                        </a:lnTo>
                        <a:lnTo>
                          <a:pt x="326" y="412"/>
                        </a:lnTo>
                        <a:lnTo>
                          <a:pt x="313" y="376"/>
                        </a:lnTo>
                        <a:lnTo>
                          <a:pt x="313" y="315"/>
                        </a:lnTo>
                        <a:lnTo>
                          <a:pt x="326" y="291"/>
                        </a:lnTo>
                        <a:lnTo>
                          <a:pt x="300" y="267"/>
                        </a:lnTo>
                        <a:lnTo>
                          <a:pt x="287" y="230"/>
                        </a:lnTo>
                        <a:lnTo>
                          <a:pt x="287" y="206"/>
                        </a:lnTo>
                        <a:lnTo>
                          <a:pt x="274" y="145"/>
                        </a:lnTo>
                        <a:lnTo>
                          <a:pt x="247" y="109"/>
                        </a:lnTo>
                        <a:lnTo>
                          <a:pt x="209" y="73"/>
                        </a:lnTo>
                        <a:lnTo>
                          <a:pt x="183" y="0"/>
                        </a:lnTo>
                        <a:lnTo>
                          <a:pt x="131" y="49"/>
                        </a:lnTo>
                        <a:lnTo>
                          <a:pt x="131" y="109"/>
                        </a:lnTo>
                        <a:lnTo>
                          <a:pt x="118" y="133"/>
                        </a:lnTo>
                        <a:lnTo>
                          <a:pt x="131" y="170"/>
                        </a:lnTo>
                        <a:lnTo>
                          <a:pt x="91" y="182"/>
                        </a:lnTo>
                        <a:lnTo>
                          <a:pt x="91" y="218"/>
                        </a:lnTo>
                        <a:lnTo>
                          <a:pt x="91" y="255"/>
                        </a:lnTo>
                        <a:lnTo>
                          <a:pt x="91" y="279"/>
                        </a:lnTo>
                        <a:lnTo>
                          <a:pt x="78" y="315"/>
                        </a:lnTo>
                        <a:lnTo>
                          <a:pt x="39" y="388"/>
                        </a:lnTo>
                        <a:lnTo>
                          <a:pt x="39" y="424"/>
                        </a:lnTo>
                        <a:lnTo>
                          <a:pt x="65" y="449"/>
                        </a:lnTo>
                        <a:lnTo>
                          <a:pt x="52" y="497"/>
                        </a:lnTo>
                        <a:lnTo>
                          <a:pt x="26" y="533"/>
                        </a:lnTo>
                        <a:lnTo>
                          <a:pt x="26" y="570"/>
                        </a:lnTo>
                        <a:lnTo>
                          <a:pt x="13" y="630"/>
                        </a:lnTo>
                        <a:lnTo>
                          <a:pt x="13" y="642"/>
                        </a:lnTo>
                        <a:lnTo>
                          <a:pt x="0" y="679"/>
                        </a:lnTo>
                        <a:lnTo>
                          <a:pt x="0" y="727"/>
                        </a:lnTo>
                        <a:lnTo>
                          <a:pt x="0" y="752"/>
                        </a:lnTo>
                        <a:lnTo>
                          <a:pt x="13" y="764"/>
                        </a:lnTo>
                        <a:lnTo>
                          <a:pt x="39" y="776"/>
                        </a:lnTo>
                        <a:lnTo>
                          <a:pt x="65" y="788"/>
                        </a:lnTo>
                        <a:lnTo>
                          <a:pt x="78" y="824"/>
                        </a:lnTo>
                        <a:lnTo>
                          <a:pt x="105" y="861"/>
                        </a:lnTo>
                        <a:lnTo>
                          <a:pt x="157" y="848"/>
                        </a:lnTo>
                        <a:lnTo>
                          <a:pt x="209" y="812"/>
                        </a:lnTo>
                        <a:lnTo>
                          <a:pt x="260" y="800"/>
                        </a:lnTo>
                        <a:lnTo>
                          <a:pt x="300" y="812"/>
                        </a:lnTo>
                        <a:lnTo>
                          <a:pt x="352" y="788"/>
                        </a:lnTo>
                        <a:lnTo>
                          <a:pt x="365" y="788"/>
                        </a:lnTo>
                        <a:lnTo>
                          <a:pt x="391" y="776"/>
                        </a:lnTo>
                        <a:lnTo>
                          <a:pt x="404" y="739"/>
                        </a:lnTo>
                        <a:lnTo>
                          <a:pt x="404" y="691"/>
                        </a:lnTo>
                        <a:lnTo>
                          <a:pt x="404" y="667"/>
                        </a:lnTo>
                        <a:lnTo>
                          <a:pt x="417" y="630"/>
                        </a:lnTo>
                        <a:lnTo>
                          <a:pt x="417" y="594"/>
                        </a:lnTo>
                        <a:lnTo>
                          <a:pt x="430" y="570"/>
                        </a:lnTo>
                        <a:lnTo>
                          <a:pt x="483" y="521"/>
                        </a:lnTo>
                        <a:lnTo>
                          <a:pt x="417" y="436"/>
                        </a:lnTo>
                      </a:path>
                    </a:pathLst>
                  </a:custGeom>
                  <a:gradFill rotWithShape="1">
                    <a:gsLst>
                      <a:gs pos="0">
                        <a:srgbClr val="004D00"/>
                      </a:gs>
                      <a:gs pos="50000">
                        <a:srgbClr val="007300"/>
                      </a:gs>
                      <a:gs pos="100000">
                        <a:srgbClr val="008A00"/>
                      </a:gs>
                    </a:gsLst>
                    <a:lin ang="13500000" scaled="1"/>
                  </a:gradFill>
                  <a:ln w="12700" cap="rnd" cmpd="sng">
                    <a:solidFill>
                      <a:srgbClr val="A3F55D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629338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24" name="Freeform 124">
                    <a:extLst>
                      <a:ext uri="{FF2B5EF4-FFF2-40B4-BE49-F238E27FC236}">
                        <a16:creationId xmlns:a16="http://schemas.microsoft.com/office/drawing/2014/main" id="{2B818C66-5825-4012-BFFC-B53B5FE1D36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36045" y="2422674"/>
                    <a:ext cx="474662" cy="630237"/>
                  </a:xfrm>
                  <a:custGeom>
                    <a:avLst/>
                    <a:gdLst>
                      <a:gd name="T0" fmla="*/ 0 w 315"/>
                      <a:gd name="T1" fmla="*/ 18672 h 438"/>
                      <a:gd name="T2" fmla="*/ 39207 w 315"/>
                      <a:gd name="T3" fmla="*/ 53143 h 438"/>
                      <a:gd name="T4" fmla="*/ 79921 w 315"/>
                      <a:gd name="T5" fmla="*/ 104849 h 438"/>
                      <a:gd name="T6" fmla="*/ 60318 w 315"/>
                      <a:gd name="T7" fmla="*/ 157992 h 438"/>
                      <a:gd name="T8" fmla="*/ 39207 w 315"/>
                      <a:gd name="T9" fmla="*/ 209698 h 438"/>
                      <a:gd name="T10" fmla="*/ 39207 w 315"/>
                      <a:gd name="T11" fmla="*/ 244169 h 438"/>
                      <a:gd name="T12" fmla="*/ 39207 w 315"/>
                      <a:gd name="T13" fmla="*/ 331783 h 438"/>
                      <a:gd name="T14" fmla="*/ 39207 w 315"/>
                      <a:gd name="T15" fmla="*/ 366254 h 438"/>
                      <a:gd name="T16" fmla="*/ 60318 w 315"/>
                      <a:gd name="T17" fmla="*/ 417960 h 438"/>
                      <a:gd name="T18" fmla="*/ 79921 w 315"/>
                      <a:gd name="T19" fmla="*/ 453868 h 438"/>
                      <a:gd name="T20" fmla="*/ 79921 w 315"/>
                      <a:gd name="T21" fmla="*/ 488339 h 438"/>
                      <a:gd name="T22" fmla="*/ 60318 w 315"/>
                      <a:gd name="T23" fmla="*/ 540045 h 438"/>
                      <a:gd name="T24" fmla="*/ 39207 w 315"/>
                      <a:gd name="T25" fmla="*/ 557281 h 438"/>
                      <a:gd name="T26" fmla="*/ 60318 w 315"/>
                      <a:gd name="T27" fmla="*/ 627659 h 438"/>
                      <a:gd name="T28" fmla="*/ 158334 w 315"/>
                      <a:gd name="T29" fmla="*/ 574516 h 438"/>
                      <a:gd name="T30" fmla="*/ 236748 w 315"/>
                      <a:gd name="T31" fmla="*/ 593188 h 438"/>
                      <a:gd name="T32" fmla="*/ 275954 w 315"/>
                      <a:gd name="T33" fmla="*/ 557281 h 438"/>
                      <a:gd name="T34" fmla="*/ 316669 w 315"/>
                      <a:gd name="T35" fmla="*/ 505574 h 438"/>
                      <a:gd name="T36" fmla="*/ 375479 w 315"/>
                      <a:gd name="T37" fmla="*/ 453868 h 438"/>
                      <a:gd name="T38" fmla="*/ 395082 w 315"/>
                      <a:gd name="T39" fmla="*/ 435196 h 438"/>
                      <a:gd name="T40" fmla="*/ 355875 w 315"/>
                      <a:gd name="T41" fmla="*/ 366254 h 438"/>
                      <a:gd name="T42" fmla="*/ 395082 w 315"/>
                      <a:gd name="T43" fmla="*/ 314548 h 438"/>
                      <a:gd name="T44" fmla="*/ 453892 w 315"/>
                      <a:gd name="T45" fmla="*/ 278640 h 438"/>
                      <a:gd name="T46" fmla="*/ 453892 w 315"/>
                      <a:gd name="T47" fmla="*/ 209698 h 438"/>
                      <a:gd name="T48" fmla="*/ 473495 w 315"/>
                      <a:gd name="T49" fmla="*/ 157992 h 438"/>
                      <a:gd name="T50" fmla="*/ 434288 w 315"/>
                      <a:gd name="T51" fmla="*/ 104849 h 438"/>
                      <a:gd name="T52" fmla="*/ 375479 w 315"/>
                      <a:gd name="T53" fmla="*/ 53143 h 438"/>
                      <a:gd name="T54" fmla="*/ 295557 w 315"/>
                      <a:gd name="T55" fmla="*/ 18672 h 438"/>
                      <a:gd name="T56" fmla="*/ 236748 w 315"/>
                      <a:gd name="T57" fmla="*/ 18672 h 438"/>
                      <a:gd name="T58" fmla="*/ 177938 w 315"/>
                      <a:gd name="T59" fmla="*/ 0 h 438"/>
                      <a:gd name="T60" fmla="*/ 138731 w 315"/>
                      <a:gd name="T61" fmla="*/ 18672 h 438"/>
                      <a:gd name="T62" fmla="*/ 119128 w 315"/>
                      <a:gd name="T63" fmla="*/ 18672 h 438"/>
                      <a:gd name="T64" fmla="*/ 79921 w 315"/>
                      <a:gd name="T65" fmla="*/ 18672 h 438"/>
                      <a:gd name="T66" fmla="*/ 0 w 315"/>
                      <a:gd name="T67" fmla="*/ 18672 h 438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315" h="438">
                        <a:moveTo>
                          <a:pt x="0" y="13"/>
                        </a:moveTo>
                        <a:lnTo>
                          <a:pt x="26" y="37"/>
                        </a:lnTo>
                        <a:lnTo>
                          <a:pt x="53" y="73"/>
                        </a:lnTo>
                        <a:lnTo>
                          <a:pt x="40" y="110"/>
                        </a:lnTo>
                        <a:lnTo>
                          <a:pt x="26" y="146"/>
                        </a:lnTo>
                        <a:lnTo>
                          <a:pt x="26" y="170"/>
                        </a:lnTo>
                        <a:lnTo>
                          <a:pt x="26" y="231"/>
                        </a:lnTo>
                        <a:lnTo>
                          <a:pt x="26" y="255"/>
                        </a:lnTo>
                        <a:lnTo>
                          <a:pt x="40" y="291"/>
                        </a:lnTo>
                        <a:lnTo>
                          <a:pt x="53" y="316"/>
                        </a:lnTo>
                        <a:lnTo>
                          <a:pt x="53" y="340"/>
                        </a:lnTo>
                        <a:lnTo>
                          <a:pt x="40" y="376"/>
                        </a:lnTo>
                        <a:lnTo>
                          <a:pt x="26" y="388"/>
                        </a:lnTo>
                        <a:lnTo>
                          <a:pt x="40" y="437"/>
                        </a:lnTo>
                        <a:lnTo>
                          <a:pt x="105" y="400"/>
                        </a:lnTo>
                        <a:lnTo>
                          <a:pt x="157" y="413"/>
                        </a:lnTo>
                        <a:lnTo>
                          <a:pt x="183" y="388"/>
                        </a:lnTo>
                        <a:lnTo>
                          <a:pt x="210" y="352"/>
                        </a:lnTo>
                        <a:lnTo>
                          <a:pt x="249" y="316"/>
                        </a:lnTo>
                        <a:lnTo>
                          <a:pt x="262" y="303"/>
                        </a:lnTo>
                        <a:lnTo>
                          <a:pt x="236" y="255"/>
                        </a:lnTo>
                        <a:lnTo>
                          <a:pt x="262" y="219"/>
                        </a:lnTo>
                        <a:lnTo>
                          <a:pt x="301" y="194"/>
                        </a:lnTo>
                        <a:lnTo>
                          <a:pt x="301" y="146"/>
                        </a:lnTo>
                        <a:lnTo>
                          <a:pt x="314" y="110"/>
                        </a:lnTo>
                        <a:lnTo>
                          <a:pt x="288" y="73"/>
                        </a:lnTo>
                        <a:lnTo>
                          <a:pt x="249" y="37"/>
                        </a:lnTo>
                        <a:lnTo>
                          <a:pt x="196" y="13"/>
                        </a:lnTo>
                        <a:lnTo>
                          <a:pt x="157" y="13"/>
                        </a:lnTo>
                        <a:lnTo>
                          <a:pt x="118" y="0"/>
                        </a:lnTo>
                        <a:lnTo>
                          <a:pt x="92" y="13"/>
                        </a:lnTo>
                        <a:lnTo>
                          <a:pt x="79" y="13"/>
                        </a:lnTo>
                        <a:lnTo>
                          <a:pt x="53" y="13"/>
                        </a:lnTo>
                        <a:lnTo>
                          <a:pt x="0" y="13"/>
                        </a:lnTo>
                      </a:path>
                    </a:pathLst>
                  </a:custGeom>
                  <a:solidFill>
                    <a:srgbClr val="6DA400"/>
                  </a:solidFill>
                  <a:ln w="3175" cap="rnd" cmpd="sng">
                    <a:solidFill>
                      <a:srgbClr val="4D4D4D"/>
                    </a:solidFill>
                    <a:round/>
                    <a:headEnd type="none" w="sm" len="sm"/>
                    <a:tailEnd type="stealth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2E2E2E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25" name="Freeform 125">
                    <a:extLst>
                      <a:ext uri="{FF2B5EF4-FFF2-40B4-BE49-F238E27FC236}">
                        <a16:creationId xmlns:a16="http://schemas.microsoft.com/office/drawing/2014/main" id="{4C8C8778-DD14-4003-ADBF-3C772CAE62D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36045" y="2422674"/>
                    <a:ext cx="474662" cy="630237"/>
                  </a:xfrm>
                  <a:custGeom>
                    <a:avLst/>
                    <a:gdLst>
                      <a:gd name="T0" fmla="*/ 0 w 315"/>
                      <a:gd name="T1" fmla="*/ 18672 h 438"/>
                      <a:gd name="T2" fmla="*/ 39207 w 315"/>
                      <a:gd name="T3" fmla="*/ 53143 h 438"/>
                      <a:gd name="T4" fmla="*/ 79921 w 315"/>
                      <a:gd name="T5" fmla="*/ 104849 h 438"/>
                      <a:gd name="T6" fmla="*/ 60318 w 315"/>
                      <a:gd name="T7" fmla="*/ 157992 h 438"/>
                      <a:gd name="T8" fmla="*/ 39207 w 315"/>
                      <a:gd name="T9" fmla="*/ 209698 h 438"/>
                      <a:gd name="T10" fmla="*/ 39207 w 315"/>
                      <a:gd name="T11" fmla="*/ 244169 h 438"/>
                      <a:gd name="T12" fmla="*/ 39207 w 315"/>
                      <a:gd name="T13" fmla="*/ 331783 h 438"/>
                      <a:gd name="T14" fmla="*/ 39207 w 315"/>
                      <a:gd name="T15" fmla="*/ 366254 h 438"/>
                      <a:gd name="T16" fmla="*/ 60318 w 315"/>
                      <a:gd name="T17" fmla="*/ 417960 h 438"/>
                      <a:gd name="T18" fmla="*/ 79921 w 315"/>
                      <a:gd name="T19" fmla="*/ 453868 h 438"/>
                      <a:gd name="T20" fmla="*/ 79921 w 315"/>
                      <a:gd name="T21" fmla="*/ 488339 h 438"/>
                      <a:gd name="T22" fmla="*/ 60318 w 315"/>
                      <a:gd name="T23" fmla="*/ 540045 h 438"/>
                      <a:gd name="T24" fmla="*/ 39207 w 315"/>
                      <a:gd name="T25" fmla="*/ 557281 h 438"/>
                      <a:gd name="T26" fmla="*/ 60318 w 315"/>
                      <a:gd name="T27" fmla="*/ 627659 h 438"/>
                      <a:gd name="T28" fmla="*/ 158334 w 315"/>
                      <a:gd name="T29" fmla="*/ 574516 h 438"/>
                      <a:gd name="T30" fmla="*/ 236748 w 315"/>
                      <a:gd name="T31" fmla="*/ 593188 h 438"/>
                      <a:gd name="T32" fmla="*/ 275954 w 315"/>
                      <a:gd name="T33" fmla="*/ 557281 h 438"/>
                      <a:gd name="T34" fmla="*/ 316669 w 315"/>
                      <a:gd name="T35" fmla="*/ 505574 h 438"/>
                      <a:gd name="T36" fmla="*/ 375479 w 315"/>
                      <a:gd name="T37" fmla="*/ 453868 h 438"/>
                      <a:gd name="T38" fmla="*/ 395082 w 315"/>
                      <a:gd name="T39" fmla="*/ 435196 h 438"/>
                      <a:gd name="T40" fmla="*/ 355875 w 315"/>
                      <a:gd name="T41" fmla="*/ 366254 h 438"/>
                      <a:gd name="T42" fmla="*/ 395082 w 315"/>
                      <a:gd name="T43" fmla="*/ 314548 h 438"/>
                      <a:gd name="T44" fmla="*/ 453892 w 315"/>
                      <a:gd name="T45" fmla="*/ 278640 h 438"/>
                      <a:gd name="T46" fmla="*/ 453892 w 315"/>
                      <a:gd name="T47" fmla="*/ 209698 h 438"/>
                      <a:gd name="T48" fmla="*/ 473495 w 315"/>
                      <a:gd name="T49" fmla="*/ 157992 h 438"/>
                      <a:gd name="T50" fmla="*/ 434288 w 315"/>
                      <a:gd name="T51" fmla="*/ 104849 h 438"/>
                      <a:gd name="T52" fmla="*/ 375479 w 315"/>
                      <a:gd name="T53" fmla="*/ 53143 h 438"/>
                      <a:gd name="T54" fmla="*/ 295557 w 315"/>
                      <a:gd name="T55" fmla="*/ 18672 h 438"/>
                      <a:gd name="T56" fmla="*/ 236748 w 315"/>
                      <a:gd name="T57" fmla="*/ 18672 h 438"/>
                      <a:gd name="T58" fmla="*/ 177938 w 315"/>
                      <a:gd name="T59" fmla="*/ 0 h 438"/>
                      <a:gd name="T60" fmla="*/ 138731 w 315"/>
                      <a:gd name="T61" fmla="*/ 18672 h 438"/>
                      <a:gd name="T62" fmla="*/ 119128 w 315"/>
                      <a:gd name="T63" fmla="*/ 18672 h 438"/>
                      <a:gd name="T64" fmla="*/ 79921 w 315"/>
                      <a:gd name="T65" fmla="*/ 18672 h 438"/>
                      <a:gd name="T66" fmla="*/ 0 w 315"/>
                      <a:gd name="T67" fmla="*/ 18672 h 438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315" h="438">
                        <a:moveTo>
                          <a:pt x="0" y="13"/>
                        </a:moveTo>
                        <a:lnTo>
                          <a:pt x="26" y="37"/>
                        </a:lnTo>
                        <a:lnTo>
                          <a:pt x="53" y="73"/>
                        </a:lnTo>
                        <a:lnTo>
                          <a:pt x="40" y="110"/>
                        </a:lnTo>
                        <a:lnTo>
                          <a:pt x="26" y="146"/>
                        </a:lnTo>
                        <a:lnTo>
                          <a:pt x="26" y="170"/>
                        </a:lnTo>
                        <a:lnTo>
                          <a:pt x="26" y="231"/>
                        </a:lnTo>
                        <a:lnTo>
                          <a:pt x="26" y="255"/>
                        </a:lnTo>
                        <a:lnTo>
                          <a:pt x="40" y="291"/>
                        </a:lnTo>
                        <a:lnTo>
                          <a:pt x="53" y="316"/>
                        </a:lnTo>
                        <a:lnTo>
                          <a:pt x="53" y="340"/>
                        </a:lnTo>
                        <a:lnTo>
                          <a:pt x="40" y="376"/>
                        </a:lnTo>
                        <a:lnTo>
                          <a:pt x="26" y="388"/>
                        </a:lnTo>
                        <a:lnTo>
                          <a:pt x="40" y="437"/>
                        </a:lnTo>
                        <a:lnTo>
                          <a:pt x="105" y="400"/>
                        </a:lnTo>
                        <a:lnTo>
                          <a:pt x="157" y="413"/>
                        </a:lnTo>
                        <a:lnTo>
                          <a:pt x="183" y="388"/>
                        </a:lnTo>
                        <a:lnTo>
                          <a:pt x="210" y="352"/>
                        </a:lnTo>
                        <a:lnTo>
                          <a:pt x="249" y="316"/>
                        </a:lnTo>
                        <a:lnTo>
                          <a:pt x="262" y="303"/>
                        </a:lnTo>
                        <a:lnTo>
                          <a:pt x="236" y="255"/>
                        </a:lnTo>
                        <a:lnTo>
                          <a:pt x="262" y="219"/>
                        </a:lnTo>
                        <a:lnTo>
                          <a:pt x="301" y="194"/>
                        </a:lnTo>
                        <a:lnTo>
                          <a:pt x="301" y="146"/>
                        </a:lnTo>
                        <a:lnTo>
                          <a:pt x="314" y="110"/>
                        </a:lnTo>
                        <a:lnTo>
                          <a:pt x="288" y="73"/>
                        </a:lnTo>
                        <a:lnTo>
                          <a:pt x="249" y="37"/>
                        </a:lnTo>
                        <a:lnTo>
                          <a:pt x="196" y="13"/>
                        </a:lnTo>
                        <a:lnTo>
                          <a:pt x="157" y="13"/>
                        </a:lnTo>
                        <a:lnTo>
                          <a:pt x="118" y="0"/>
                        </a:lnTo>
                        <a:lnTo>
                          <a:pt x="92" y="13"/>
                        </a:lnTo>
                        <a:lnTo>
                          <a:pt x="79" y="13"/>
                        </a:lnTo>
                        <a:lnTo>
                          <a:pt x="53" y="13"/>
                        </a:lnTo>
                        <a:lnTo>
                          <a:pt x="0" y="13"/>
                        </a:lnTo>
                      </a:path>
                    </a:pathLst>
                  </a:custGeom>
                  <a:gradFill rotWithShape="1">
                    <a:gsLst>
                      <a:gs pos="0">
                        <a:srgbClr val="004D00"/>
                      </a:gs>
                      <a:gs pos="50000">
                        <a:srgbClr val="007300"/>
                      </a:gs>
                      <a:gs pos="100000">
                        <a:srgbClr val="008A00"/>
                      </a:gs>
                    </a:gsLst>
                    <a:lin ang="13500000" scaled="1"/>
                  </a:gradFill>
                  <a:ln w="12700" cap="rnd" cmpd="sng">
                    <a:solidFill>
                      <a:srgbClr val="A3F55D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629338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26" name="Freeform 126">
                    <a:extLst>
                      <a:ext uri="{FF2B5EF4-FFF2-40B4-BE49-F238E27FC236}">
                        <a16:creationId xmlns:a16="http://schemas.microsoft.com/office/drawing/2014/main" id="{B418B9FE-78C2-4B4F-9D30-73F5F652DCF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593032" y="2003574"/>
                    <a:ext cx="373063" cy="296862"/>
                  </a:xfrm>
                  <a:custGeom>
                    <a:avLst/>
                    <a:gdLst>
                      <a:gd name="T0" fmla="*/ 156144 w 249"/>
                      <a:gd name="T1" fmla="*/ 0 h 207"/>
                      <a:gd name="T2" fmla="*/ 58554 w 249"/>
                      <a:gd name="T3" fmla="*/ 120336 h 207"/>
                      <a:gd name="T4" fmla="*/ 0 w 249"/>
                      <a:gd name="T5" fmla="*/ 242105 h 207"/>
                      <a:gd name="T6" fmla="*/ 117108 w 249"/>
                      <a:gd name="T7" fmla="*/ 242105 h 207"/>
                      <a:gd name="T8" fmla="*/ 195180 w 249"/>
                      <a:gd name="T9" fmla="*/ 295110 h 207"/>
                      <a:gd name="T10" fmla="*/ 294272 w 249"/>
                      <a:gd name="T11" fmla="*/ 156151 h 207"/>
                      <a:gd name="T12" fmla="*/ 372344 w 249"/>
                      <a:gd name="T13" fmla="*/ 103145 h 207"/>
                      <a:gd name="T14" fmla="*/ 313790 w 249"/>
                      <a:gd name="T15" fmla="*/ 34382 h 207"/>
                      <a:gd name="T16" fmla="*/ 156144 w 249"/>
                      <a:gd name="T17" fmla="*/ 0 h 207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0" t="0" r="r" b="b"/>
                    <a:pathLst>
                      <a:path w="249" h="207">
                        <a:moveTo>
                          <a:pt x="104" y="0"/>
                        </a:moveTo>
                        <a:lnTo>
                          <a:pt x="39" y="84"/>
                        </a:lnTo>
                        <a:lnTo>
                          <a:pt x="0" y="169"/>
                        </a:lnTo>
                        <a:lnTo>
                          <a:pt x="78" y="169"/>
                        </a:lnTo>
                        <a:lnTo>
                          <a:pt x="130" y="206"/>
                        </a:lnTo>
                        <a:lnTo>
                          <a:pt x="196" y="109"/>
                        </a:lnTo>
                        <a:lnTo>
                          <a:pt x="248" y="72"/>
                        </a:lnTo>
                        <a:lnTo>
                          <a:pt x="209" y="24"/>
                        </a:lnTo>
                        <a:lnTo>
                          <a:pt x="104" y="0"/>
                        </a:lnTo>
                      </a:path>
                    </a:pathLst>
                  </a:custGeom>
                  <a:solidFill>
                    <a:srgbClr val="6DA400"/>
                  </a:solidFill>
                  <a:ln w="3175" cap="rnd" cmpd="sng">
                    <a:solidFill>
                      <a:srgbClr val="4D4D4D"/>
                    </a:solidFill>
                    <a:round/>
                    <a:headEnd type="none" w="sm" len="sm"/>
                    <a:tailEnd type="stealth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2E2E2E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27" name="Freeform 127">
                    <a:extLst>
                      <a:ext uri="{FF2B5EF4-FFF2-40B4-BE49-F238E27FC236}">
                        <a16:creationId xmlns:a16="http://schemas.microsoft.com/office/drawing/2014/main" id="{3C7A4851-F7B8-422E-8C1B-AD062646EA7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593032" y="2003574"/>
                    <a:ext cx="373063" cy="296862"/>
                  </a:xfrm>
                  <a:custGeom>
                    <a:avLst/>
                    <a:gdLst>
                      <a:gd name="T0" fmla="*/ 156144 w 249"/>
                      <a:gd name="T1" fmla="*/ 0 h 207"/>
                      <a:gd name="T2" fmla="*/ 58554 w 249"/>
                      <a:gd name="T3" fmla="*/ 120336 h 207"/>
                      <a:gd name="T4" fmla="*/ 0 w 249"/>
                      <a:gd name="T5" fmla="*/ 242105 h 207"/>
                      <a:gd name="T6" fmla="*/ 117108 w 249"/>
                      <a:gd name="T7" fmla="*/ 242105 h 207"/>
                      <a:gd name="T8" fmla="*/ 195180 w 249"/>
                      <a:gd name="T9" fmla="*/ 295110 h 207"/>
                      <a:gd name="T10" fmla="*/ 294272 w 249"/>
                      <a:gd name="T11" fmla="*/ 156151 h 207"/>
                      <a:gd name="T12" fmla="*/ 372344 w 249"/>
                      <a:gd name="T13" fmla="*/ 103145 h 207"/>
                      <a:gd name="T14" fmla="*/ 313790 w 249"/>
                      <a:gd name="T15" fmla="*/ 34382 h 207"/>
                      <a:gd name="T16" fmla="*/ 156144 w 249"/>
                      <a:gd name="T17" fmla="*/ 0 h 207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0" t="0" r="r" b="b"/>
                    <a:pathLst>
                      <a:path w="249" h="207">
                        <a:moveTo>
                          <a:pt x="104" y="0"/>
                        </a:moveTo>
                        <a:lnTo>
                          <a:pt x="39" y="84"/>
                        </a:lnTo>
                        <a:lnTo>
                          <a:pt x="0" y="169"/>
                        </a:lnTo>
                        <a:lnTo>
                          <a:pt x="78" y="169"/>
                        </a:lnTo>
                        <a:lnTo>
                          <a:pt x="130" y="206"/>
                        </a:lnTo>
                        <a:lnTo>
                          <a:pt x="196" y="109"/>
                        </a:lnTo>
                        <a:lnTo>
                          <a:pt x="248" y="72"/>
                        </a:lnTo>
                        <a:lnTo>
                          <a:pt x="209" y="24"/>
                        </a:lnTo>
                        <a:lnTo>
                          <a:pt x="104" y="0"/>
                        </a:lnTo>
                      </a:path>
                    </a:pathLst>
                  </a:custGeom>
                  <a:solidFill>
                    <a:srgbClr val="008000"/>
                  </a:solidFill>
                  <a:ln w="12700" cap="rnd" cmpd="sng">
                    <a:solidFill>
                      <a:srgbClr val="A3F55D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629338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28" name="Freeform 128">
                    <a:extLst>
                      <a:ext uri="{FF2B5EF4-FFF2-40B4-BE49-F238E27FC236}">
                        <a16:creationId xmlns:a16="http://schemas.microsoft.com/office/drawing/2014/main" id="{22E9FA04-6FD2-4200-93CA-BB8377F0EF4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826835">
                    <a:off x="5023990" y="4880261"/>
                    <a:ext cx="461809" cy="563431"/>
                  </a:xfrm>
                  <a:custGeom>
                    <a:avLst/>
                    <a:gdLst>
                      <a:gd name="T0" fmla="*/ 92 w 446"/>
                      <a:gd name="T1" fmla="*/ 678 h 679"/>
                      <a:gd name="T2" fmla="*/ 196 w 446"/>
                      <a:gd name="T3" fmla="*/ 630 h 679"/>
                      <a:gd name="T4" fmla="*/ 235 w 446"/>
                      <a:gd name="T5" fmla="*/ 569 h 679"/>
                      <a:gd name="T6" fmla="*/ 288 w 446"/>
                      <a:gd name="T7" fmla="*/ 497 h 679"/>
                      <a:gd name="T8" fmla="*/ 340 w 446"/>
                      <a:gd name="T9" fmla="*/ 472 h 679"/>
                      <a:gd name="T10" fmla="*/ 392 w 446"/>
                      <a:gd name="T11" fmla="*/ 460 h 679"/>
                      <a:gd name="T12" fmla="*/ 432 w 446"/>
                      <a:gd name="T13" fmla="*/ 400 h 679"/>
                      <a:gd name="T14" fmla="*/ 445 w 446"/>
                      <a:gd name="T15" fmla="*/ 339 h 679"/>
                      <a:gd name="T16" fmla="*/ 445 w 446"/>
                      <a:gd name="T17" fmla="*/ 278 h 679"/>
                      <a:gd name="T18" fmla="*/ 419 w 446"/>
                      <a:gd name="T19" fmla="*/ 218 h 679"/>
                      <a:gd name="T20" fmla="*/ 419 w 446"/>
                      <a:gd name="T21" fmla="*/ 157 h 679"/>
                      <a:gd name="T22" fmla="*/ 445 w 446"/>
                      <a:gd name="T23" fmla="*/ 60 h 679"/>
                      <a:gd name="T24" fmla="*/ 405 w 446"/>
                      <a:gd name="T25" fmla="*/ 0 h 679"/>
                      <a:gd name="T26" fmla="*/ 366 w 446"/>
                      <a:gd name="T27" fmla="*/ 0 h 679"/>
                      <a:gd name="T28" fmla="*/ 327 w 446"/>
                      <a:gd name="T29" fmla="*/ 12 h 679"/>
                      <a:gd name="T30" fmla="*/ 275 w 446"/>
                      <a:gd name="T31" fmla="*/ 60 h 679"/>
                      <a:gd name="T32" fmla="*/ 249 w 446"/>
                      <a:gd name="T33" fmla="*/ 109 h 679"/>
                      <a:gd name="T34" fmla="*/ 235 w 446"/>
                      <a:gd name="T35" fmla="*/ 133 h 679"/>
                      <a:gd name="T36" fmla="*/ 222 w 446"/>
                      <a:gd name="T37" fmla="*/ 169 h 679"/>
                      <a:gd name="T38" fmla="*/ 209 w 446"/>
                      <a:gd name="T39" fmla="*/ 194 h 679"/>
                      <a:gd name="T40" fmla="*/ 235 w 446"/>
                      <a:gd name="T41" fmla="*/ 242 h 679"/>
                      <a:gd name="T42" fmla="*/ 209 w 446"/>
                      <a:gd name="T43" fmla="*/ 254 h 679"/>
                      <a:gd name="T44" fmla="*/ 196 w 446"/>
                      <a:gd name="T45" fmla="*/ 303 h 679"/>
                      <a:gd name="T46" fmla="*/ 131 w 446"/>
                      <a:gd name="T47" fmla="*/ 351 h 679"/>
                      <a:gd name="T48" fmla="*/ 79 w 446"/>
                      <a:gd name="T49" fmla="*/ 387 h 679"/>
                      <a:gd name="T50" fmla="*/ 52 w 446"/>
                      <a:gd name="T51" fmla="*/ 400 h 679"/>
                      <a:gd name="T52" fmla="*/ 26 w 446"/>
                      <a:gd name="T53" fmla="*/ 460 h 679"/>
                      <a:gd name="T54" fmla="*/ 13 w 446"/>
                      <a:gd name="T55" fmla="*/ 497 h 679"/>
                      <a:gd name="T56" fmla="*/ 0 w 446"/>
                      <a:gd name="T57" fmla="*/ 533 h 679"/>
                      <a:gd name="T58" fmla="*/ 13 w 446"/>
                      <a:gd name="T59" fmla="*/ 581 h 679"/>
                      <a:gd name="T60" fmla="*/ 26 w 446"/>
                      <a:gd name="T61" fmla="*/ 581 h 679"/>
                      <a:gd name="T62" fmla="*/ 26 w 446"/>
                      <a:gd name="T63" fmla="*/ 630 h 679"/>
                      <a:gd name="T64" fmla="*/ 92 w 446"/>
                      <a:gd name="T65" fmla="*/ 678 h 6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446" h="679">
                        <a:moveTo>
                          <a:pt x="92" y="678"/>
                        </a:moveTo>
                        <a:lnTo>
                          <a:pt x="196" y="630"/>
                        </a:lnTo>
                        <a:lnTo>
                          <a:pt x="235" y="569"/>
                        </a:lnTo>
                        <a:lnTo>
                          <a:pt x="288" y="497"/>
                        </a:lnTo>
                        <a:lnTo>
                          <a:pt x="340" y="472"/>
                        </a:lnTo>
                        <a:lnTo>
                          <a:pt x="392" y="460"/>
                        </a:lnTo>
                        <a:lnTo>
                          <a:pt x="432" y="400"/>
                        </a:lnTo>
                        <a:lnTo>
                          <a:pt x="445" y="339"/>
                        </a:lnTo>
                        <a:lnTo>
                          <a:pt x="445" y="278"/>
                        </a:lnTo>
                        <a:lnTo>
                          <a:pt x="419" y="218"/>
                        </a:lnTo>
                        <a:lnTo>
                          <a:pt x="419" y="157"/>
                        </a:lnTo>
                        <a:lnTo>
                          <a:pt x="445" y="60"/>
                        </a:lnTo>
                        <a:lnTo>
                          <a:pt x="405" y="0"/>
                        </a:lnTo>
                        <a:lnTo>
                          <a:pt x="366" y="0"/>
                        </a:lnTo>
                        <a:lnTo>
                          <a:pt x="327" y="12"/>
                        </a:lnTo>
                        <a:lnTo>
                          <a:pt x="275" y="60"/>
                        </a:lnTo>
                        <a:lnTo>
                          <a:pt x="249" y="109"/>
                        </a:lnTo>
                        <a:lnTo>
                          <a:pt x="235" y="133"/>
                        </a:lnTo>
                        <a:lnTo>
                          <a:pt x="222" y="169"/>
                        </a:lnTo>
                        <a:lnTo>
                          <a:pt x="209" y="194"/>
                        </a:lnTo>
                        <a:lnTo>
                          <a:pt x="235" y="242"/>
                        </a:lnTo>
                        <a:lnTo>
                          <a:pt x="209" y="254"/>
                        </a:lnTo>
                        <a:lnTo>
                          <a:pt x="196" y="303"/>
                        </a:lnTo>
                        <a:lnTo>
                          <a:pt x="131" y="351"/>
                        </a:lnTo>
                        <a:lnTo>
                          <a:pt x="79" y="387"/>
                        </a:lnTo>
                        <a:lnTo>
                          <a:pt x="52" y="400"/>
                        </a:lnTo>
                        <a:lnTo>
                          <a:pt x="26" y="460"/>
                        </a:lnTo>
                        <a:lnTo>
                          <a:pt x="13" y="497"/>
                        </a:lnTo>
                        <a:lnTo>
                          <a:pt x="0" y="533"/>
                        </a:lnTo>
                        <a:lnTo>
                          <a:pt x="13" y="581"/>
                        </a:lnTo>
                        <a:lnTo>
                          <a:pt x="26" y="581"/>
                        </a:lnTo>
                        <a:lnTo>
                          <a:pt x="26" y="630"/>
                        </a:lnTo>
                        <a:lnTo>
                          <a:pt x="92" y="678"/>
                        </a:lnTo>
                      </a:path>
                    </a:pathLst>
                  </a:custGeom>
                  <a:gradFill flip="none" rotWithShape="1">
                    <a:gsLst>
                      <a:gs pos="0">
                        <a:srgbClr val="FF3300">
                          <a:shade val="30000"/>
                          <a:satMod val="115000"/>
                        </a:srgbClr>
                      </a:gs>
                      <a:gs pos="50000">
                        <a:srgbClr val="FF3300">
                          <a:shade val="67500"/>
                          <a:satMod val="115000"/>
                        </a:srgbClr>
                      </a:gs>
                      <a:gs pos="100000">
                        <a:srgbClr val="FF3300">
                          <a:shade val="100000"/>
                          <a:satMod val="115000"/>
                        </a:srgbClr>
                      </a:gs>
                    </a:gsLst>
                    <a:path path="circle">
                      <a:fillToRect l="100000" t="100000"/>
                    </a:path>
                    <a:tileRect r="-100000" b="-100000"/>
                  </a:gradFill>
                  <a:ln w="12700" cap="rnd" cmpd="sng">
                    <a:solidFill>
                      <a:srgbClr val="A3F55D"/>
                    </a:solidFill>
                    <a:round/>
                    <a:headEnd type="none" w="sm" len="sm"/>
                    <a:tailEnd type="stealth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A3F55D">
                              <a:gamma/>
                              <a:shade val="60000"/>
                              <a:invGamma/>
                            </a:srgbClr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pt-BR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29" name="Freeform 131">
                    <a:extLst>
                      <a:ext uri="{FF2B5EF4-FFF2-40B4-BE49-F238E27FC236}">
                        <a16:creationId xmlns:a16="http://schemas.microsoft.com/office/drawing/2014/main" id="{109547E1-CD47-434F-A68B-5C640A74B5E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91070" y="3252936"/>
                    <a:ext cx="969962" cy="525463"/>
                  </a:xfrm>
                  <a:custGeom>
                    <a:avLst/>
                    <a:gdLst>
                      <a:gd name="T0" fmla="*/ 78551 w 642"/>
                      <a:gd name="T1" fmla="*/ 0 h 365"/>
                      <a:gd name="T2" fmla="*/ 237162 w 642"/>
                      <a:gd name="T3" fmla="*/ 34541 h 365"/>
                      <a:gd name="T4" fmla="*/ 394264 w 642"/>
                      <a:gd name="T5" fmla="*/ 139602 h 365"/>
                      <a:gd name="T6" fmla="*/ 493963 w 642"/>
                      <a:gd name="T7" fmla="*/ 174142 h 365"/>
                      <a:gd name="T8" fmla="*/ 651064 w 642"/>
                      <a:gd name="T9" fmla="*/ 227392 h 365"/>
                      <a:gd name="T10" fmla="*/ 790038 w 642"/>
                      <a:gd name="T11" fmla="*/ 279203 h 365"/>
                      <a:gd name="T12" fmla="*/ 948650 w 642"/>
                      <a:gd name="T13" fmla="*/ 313744 h 365"/>
                      <a:gd name="T14" fmla="*/ 968287 w 642"/>
                      <a:gd name="T15" fmla="*/ 384264 h 365"/>
                      <a:gd name="T16" fmla="*/ 829313 w 642"/>
                      <a:gd name="T17" fmla="*/ 401535 h 365"/>
                      <a:gd name="T18" fmla="*/ 790038 w 642"/>
                      <a:gd name="T19" fmla="*/ 453345 h 365"/>
                      <a:gd name="T20" fmla="*/ 670701 w 642"/>
                      <a:gd name="T21" fmla="*/ 523866 h 365"/>
                      <a:gd name="T22" fmla="*/ 611788 w 642"/>
                      <a:gd name="T23" fmla="*/ 506596 h 365"/>
                      <a:gd name="T24" fmla="*/ 513600 w 642"/>
                      <a:gd name="T25" fmla="*/ 523866 h 365"/>
                      <a:gd name="T26" fmla="*/ 454687 w 642"/>
                      <a:gd name="T27" fmla="*/ 506596 h 365"/>
                      <a:gd name="T28" fmla="*/ 454687 w 642"/>
                      <a:gd name="T29" fmla="*/ 436075 h 365"/>
                      <a:gd name="T30" fmla="*/ 454687 w 642"/>
                      <a:gd name="T31" fmla="*/ 366994 h 365"/>
                      <a:gd name="T32" fmla="*/ 374626 w 642"/>
                      <a:gd name="T33" fmla="*/ 348284 h 365"/>
                      <a:gd name="T34" fmla="*/ 256800 w 642"/>
                      <a:gd name="T35" fmla="*/ 384264 h 365"/>
                      <a:gd name="T36" fmla="*/ 197887 w 642"/>
                      <a:gd name="T37" fmla="*/ 384264 h 365"/>
                      <a:gd name="T38" fmla="*/ 78551 w 642"/>
                      <a:gd name="T39" fmla="*/ 244663 h 365"/>
                      <a:gd name="T40" fmla="*/ 39275 w 642"/>
                      <a:gd name="T41" fmla="*/ 156872 h 365"/>
                      <a:gd name="T42" fmla="*/ 0 w 642"/>
                      <a:gd name="T43" fmla="*/ 105061 h 365"/>
                      <a:gd name="T44" fmla="*/ 58913 w 642"/>
                      <a:gd name="T45" fmla="*/ 70520 h 365"/>
                      <a:gd name="T46" fmla="*/ 78551 w 642"/>
                      <a:gd name="T47" fmla="*/ 0 h 365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0" t="0" r="r" b="b"/>
                    <a:pathLst>
                      <a:path w="642" h="365">
                        <a:moveTo>
                          <a:pt x="52" y="0"/>
                        </a:moveTo>
                        <a:lnTo>
                          <a:pt x="157" y="24"/>
                        </a:lnTo>
                        <a:lnTo>
                          <a:pt x="261" y="97"/>
                        </a:lnTo>
                        <a:lnTo>
                          <a:pt x="327" y="121"/>
                        </a:lnTo>
                        <a:lnTo>
                          <a:pt x="431" y="158"/>
                        </a:lnTo>
                        <a:lnTo>
                          <a:pt x="523" y="194"/>
                        </a:lnTo>
                        <a:lnTo>
                          <a:pt x="628" y="218"/>
                        </a:lnTo>
                        <a:lnTo>
                          <a:pt x="641" y="267"/>
                        </a:lnTo>
                        <a:lnTo>
                          <a:pt x="549" y="279"/>
                        </a:lnTo>
                        <a:lnTo>
                          <a:pt x="523" y="315"/>
                        </a:lnTo>
                        <a:lnTo>
                          <a:pt x="444" y="364"/>
                        </a:lnTo>
                        <a:lnTo>
                          <a:pt x="405" y="352"/>
                        </a:lnTo>
                        <a:lnTo>
                          <a:pt x="340" y="364"/>
                        </a:lnTo>
                        <a:lnTo>
                          <a:pt x="301" y="352"/>
                        </a:lnTo>
                        <a:lnTo>
                          <a:pt x="301" y="303"/>
                        </a:lnTo>
                        <a:lnTo>
                          <a:pt x="301" y="255"/>
                        </a:lnTo>
                        <a:lnTo>
                          <a:pt x="248" y="242"/>
                        </a:lnTo>
                        <a:lnTo>
                          <a:pt x="170" y="267"/>
                        </a:lnTo>
                        <a:lnTo>
                          <a:pt x="131" y="267"/>
                        </a:lnTo>
                        <a:lnTo>
                          <a:pt x="52" y="170"/>
                        </a:lnTo>
                        <a:lnTo>
                          <a:pt x="26" y="109"/>
                        </a:lnTo>
                        <a:lnTo>
                          <a:pt x="0" y="73"/>
                        </a:lnTo>
                        <a:lnTo>
                          <a:pt x="39" y="49"/>
                        </a:lnTo>
                        <a:lnTo>
                          <a:pt x="52" y="0"/>
                        </a:lnTo>
                      </a:path>
                    </a:pathLst>
                  </a:custGeom>
                  <a:gradFill rotWithShape="1">
                    <a:gsLst>
                      <a:gs pos="0">
                        <a:srgbClr val="004D00"/>
                      </a:gs>
                      <a:gs pos="50000">
                        <a:srgbClr val="007300"/>
                      </a:gs>
                      <a:gs pos="100000">
                        <a:srgbClr val="008A00"/>
                      </a:gs>
                    </a:gsLst>
                    <a:lin ang="13500000" scaled="1"/>
                  </a:gradFill>
                  <a:ln w="12700" cap="rnd" cmpd="sng">
                    <a:solidFill>
                      <a:srgbClr val="A3F55D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629338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>
                      <a:solidFill>
                        <a:srgbClr val="00007F"/>
                      </a:solidFill>
                      <a:latin typeface="Arial" charset="0"/>
                    </a:endParaRPr>
                  </a:p>
                </p:txBody>
              </p:sp>
            </p:grpSp>
            <p:pic>
              <p:nvPicPr>
                <p:cNvPr id="37" name="Picture 36">
                  <a:extLst>
                    <a:ext uri="{FF2B5EF4-FFF2-40B4-BE49-F238E27FC236}">
                      <a16:creationId xmlns:a16="http://schemas.microsoft.com/office/drawing/2014/main" id="{161AD3A3-8D2D-4F94-B9C1-7ADC82EC07A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788499" y="2091888"/>
                  <a:ext cx="462106" cy="774299"/>
                </a:xfrm>
                <a:prstGeom prst="rect">
                  <a:avLst/>
                </a:prstGeom>
              </p:spPr>
            </p:pic>
            <p:pic>
              <p:nvPicPr>
                <p:cNvPr id="38" name="Picture 37">
                  <a:extLst>
                    <a:ext uri="{FF2B5EF4-FFF2-40B4-BE49-F238E27FC236}">
                      <a16:creationId xmlns:a16="http://schemas.microsoft.com/office/drawing/2014/main" id="{80811140-568D-4B43-B11C-913799B0F06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357442" y="1369133"/>
                  <a:ext cx="479345" cy="791314"/>
                </a:xfrm>
                <a:prstGeom prst="rect">
                  <a:avLst/>
                </a:prstGeom>
              </p:spPr>
            </p:pic>
            <p:pic>
              <p:nvPicPr>
                <p:cNvPr id="39" name="Picture 38">
                  <a:extLst>
                    <a:ext uri="{FF2B5EF4-FFF2-40B4-BE49-F238E27FC236}">
                      <a16:creationId xmlns:a16="http://schemas.microsoft.com/office/drawing/2014/main" id="{3A6A5AB5-3B8C-4EE5-8AD1-0F1C3D114ED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24548" y="4112174"/>
                  <a:ext cx="553884" cy="835062"/>
                </a:xfrm>
                <a:prstGeom prst="rect">
                  <a:avLst/>
                </a:prstGeom>
              </p:spPr>
            </p:pic>
            <p:pic>
              <p:nvPicPr>
                <p:cNvPr id="40" name="Picture 39">
                  <a:extLst>
                    <a:ext uri="{FF2B5EF4-FFF2-40B4-BE49-F238E27FC236}">
                      <a16:creationId xmlns:a16="http://schemas.microsoft.com/office/drawing/2014/main" id="{B1119279-779D-4D89-9C97-FD9BED23088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20076" y="3505507"/>
                  <a:ext cx="508258" cy="806276"/>
                </a:xfrm>
                <a:prstGeom prst="rect">
                  <a:avLst/>
                </a:prstGeom>
              </p:spPr>
            </p:pic>
            <p:pic>
              <p:nvPicPr>
                <p:cNvPr id="41" name="Picture 40">
                  <a:extLst>
                    <a:ext uri="{FF2B5EF4-FFF2-40B4-BE49-F238E27FC236}">
                      <a16:creationId xmlns:a16="http://schemas.microsoft.com/office/drawing/2014/main" id="{794A0A29-12E4-4FFE-B2FB-2F511D184B9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52532" y="4522604"/>
                  <a:ext cx="506311" cy="794768"/>
                </a:xfrm>
                <a:prstGeom prst="rect">
                  <a:avLst/>
                </a:prstGeom>
              </p:spPr>
            </p:pic>
            <p:pic>
              <p:nvPicPr>
                <p:cNvPr id="42" name="Picture 41">
                  <a:extLst>
                    <a:ext uri="{FF2B5EF4-FFF2-40B4-BE49-F238E27FC236}">
                      <a16:creationId xmlns:a16="http://schemas.microsoft.com/office/drawing/2014/main" id="{ADF0BE59-05FA-41B4-89B8-AF9E97CF433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418335" y="5505903"/>
                  <a:ext cx="614261" cy="974437"/>
                </a:xfrm>
                <a:prstGeom prst="rect">
                  <a:avLst/>
                </a:prstGeom>
              </p:spPr>
            </p:pic>
            <p:pic>
              <p:nvPicPr>
                <p:cNvPr id="43" name="Picture 42">
                  <a:extLst>
                    <a:ext uri="{FF2B5EF4-FFF2-40B4-BE49-F238E27FC236}">
                      <a16:creationId xmlns:a16="http://schemas.microsoft.com/office/drawing/2014/main" id="{7780D7E2-C427-4037-9F6F-B00EFB9CDB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083359" y="4675458"/>
                  <a:ext cx="517289" cy="80654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4" name="Picture 43">
                  <a:extLst>
                    <a:ext uri="{FF2B5EF4-FFF2-40B4-BE49-F238E27FC236}">
                      <a16:creationId xmlns:a16="http://schemas.microsoft.com/office/drawing/2014/main" id="{2DA585F8-5CDF-474B-BA88-3F2326E9B682}"/>
                    </a:ext>
                  </a:extLst>
                </p:cNvPr>
                <p:cNvPicPr/>
                <p:nvPr/>
              </p:nvPicPr>
              <p:blipFill>
                <a:blip r:embed="rId1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889656" y="4352008"/>
                  <a:ext cx="491811" cy="749073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45" name="Picture 44">
                  <a:extLst>
                    <a:ext uri="{FF2B5EF4-FFF2-40B4-BE49-F238E27FC236}">
                      <a16:creationId xmlns:a16="http://schemas.microsoft.com/office/drawing/2014/main" id="{AB6CA5DB-CEFF-4D2C-88D1-FB2D398E54D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652149" y="1912400"/>
                  <a:ext cx="517289" cy="80654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175999AD-00B5-401A-AE69-8DFDF05BEC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401005" y="3342835"/>
                <a:ext cx="447928" cy="714780"/>
              </a:xfrm>
              <a:prstGeom prst="rect">
                <a:avLst/>
              </a:prstGeom>
            </p:spPr>
          </p:pic>
          <p:pic>
            <p:nvPicPr>
              <p:cNvPr id="20" name="Picture 3" descr="H:\MT-PE\AIT-Anti Illicit Trade\Amostras de Cigarros AIT\PENDENCIA\Contrabando\Tabacalera Hernandarias\Fox.jpg">
                <a:extLst>
                  <a:ext uri="{FF2B5EF4-FFF2-40B4-BE49-F238E27FC236}">
                    <a16:creationId xmlns:a16="http://schemas.microsoft.com/office/drawing/2014/main" id="{8FF5BE6A-C3BE-4381-9882-CED3B41FEA8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02374" y="3548117"/>
                <a:ext cx="464880" cy="737464"/>
              </a:xfrm>
              <a:prstGeom prst="rect">
                <a:avLst/>
              </a:prstGeom>
              <a:noFill/>
              <a:ln>
                <a:solidFill>
                  <a:schemeClr val="bg1">
                    <a:lumMod val="50000"/>
                  </a:schemeClr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4B3F07EE-04D4-4639-A3FB-7C995711DD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78793" y="3435105"/>
                <a:ext cx="461316" cy="731812"/>
              </a:xfrm>
              <a:prstGeom prst="rect">
                <a:avLst/>
              </a:prstGeom>
              <a:ln>
                <a:solidFill>
                  <a:srgbClr val="002060"/>
                </a:solidFill>
              </a:ln>
            </p:spPr>
          </p:pic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2DABE696-44F3-45B4-8545-1A6C3AFFFF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216893" y="3011000"/>
                <a:ext cx="460070" cy="729834"/>
              </a:xfrm>
              <a:prstGeom prst="rect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</p:pic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00D0F9DD-3C5A-473B-8832-FD6878DB5E27}"/>
                  </a:ext>
                </a:extLst>
              </p:cNvPr>
              <p:cNvSpPr txBox="1"/>
              <p:nvPr/>
            </p:nvSpPr>
            <p:spPr>
              <a:xfrm>
                <a:off x="957367" y="4166917"/>
                <a:ext cx="904167" cy="4071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750" dirty="0">
                    <a:solidFill>
                      <a:srgbClr val="002060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Tabacalera </a:t>
                </a:r>
              </a:p>
              <a:p>
                <a:pPr algn="ctr"/>
                <a:r>
                  <a:rPr lang="pt-BR" sz="750" dirty="0">
                    <a:solidFill>
                      <a:srgbClr val="002060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Hernandárias</a:t>
                </a:r>
                <a:endParaRPr lang="en-US" sz="750" dirty="0">
                  <a:solidFill>
                    <a:srgbClr val="00206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570B6038-3075-4D2E-8833-A433A01E2729}"/>
                  </a:ext>
                </a:extLst>
              </p:cNvPr>
              <p:cNvSpPr txBox="1"/>
              <p:nvPr/>
            </p:nvSpPr>
            <p:spPr>
              <a:xfrm>
                <a:off x="3468335" y="6389184"/>
                <a:ext cx="904167" cy="4071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750" dirty="0">
                    <a:solidFill>
                      <a:srgbClr val="002060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Tabacalera </a:t>
                </a:r>
              </a:p>
              <a:p>
                <a:pPr algn="ctr"/>
                <a:r>
                  <a:rPr lang="pt-BR" sz="750" dirty="0">
                    <a:solidFill>
                      <a:srgbClr val="002060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Hernandárias</a:t>
                </a:r>
                <a:endParaRPr lang="en-US" sz="750" dirty="0">
                  <a:solidFill>
                    <a:srgbClr val="00206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60BBD722-EE30-48FE-BF11-057E3AC4944D}"/>
                  </a:ext>
                </a:extLst>
              </p:cNvPr>
              <p:cNvSpPr txBox="1"/>
              <p:nvPr/>
            </p:nvSpPr>
            <p:spPr>
              <a:xfrm>
                <a:off x="2553996" y="4704034"/>
                <a:ext cx="904167" cy="4071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750" dirty="0">
                    <a:solidFill>
                      <a:srgbClr val="002060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Veneto</a:t>
                </a:r>
              </a:p>
              <a:p>
                <a:pPr algn="ctr"/>
                <a:r>
                  <a:rPr lang="pt-BR" sz="750" dirty="0">
                    <a:solidFill>
                      <a:srgbClr val="002060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Tabacos</a:t>
                </a:r>
                <a:endParaRPr lang="en-US" sz="750" dirty="0">
                  <a:solidFill>
                    <a:srgbClr val="00206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BFBD94C8-CF4C-4FDB-A7C3-438F1750FAF1}"/>
                  </a:ext>
                </a:extLst>
              </p:cNvPr>
              <p:cNvSpPr txBox="1"/>
              <p:nvPr/>
            </p:nvSpPr>
            <p:spPr>
              <a:xfrm>
                <a:off x="4980667" y="5496546"/>
                <a:ext cx="904167" cy="2617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750" dirty="0">
                    <a:solidFill>
                      <a:srgbClr val="002060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Urion</a:t>
                </a:r>
                <a:endParaRPr lang="en-US" sz="750" dirty="0">
                  <a:solidFill>
                    <a:srgbClr val="00206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AC8A61FF-57F1-43F9-855F-95DAF2FE851C}"/>
                  </a:ext>
                </a:extLst>
              </p:cNvPr>
              <p:cNvSpPr txBox="1"/>
              <p:nvPr/>
            </p:nvSpPr>
            <p:spPr>
              <a:xfrm>
                <a:off x="5631266" y="3721179"/>
                <a:ext cx="1117386" cy="4071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750" dirty="0">
                    <a:solidFill>
                      <a:srgbClr val="002060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Tacalera San Francisco</a:t>
                </a:r>
                <a:endParaRPr lang="en-US" sz="750" dirty="0">
                  <a:solidFill>
                    <a:srgbClr val="00206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1C339D83-BFCB-4DCF-BE0E-D12E9655E5A1}"/>
                  </a:ext>
                </a:extLst>
              </p:cNvPr>
              <p:cNvSpPr txBox="1"/>
              <p:nvPr/>
            </p:nvSpPr>
            <p:spPr>
              <a:xfrm>
                <a:off x="3023766" y="1519002"/>
                <a:ext cx="1461208" cy="2617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750" dirty="0">
                    <a:solidFill>
                      <a:srgbClr val="002060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Tacalera San Francisco</a:t>
                </a:r>
                <a:endParaRPr lang="en-US" sz="750" dirty="0">
                  <a:solidFill>
                    <a:srgbClr val="00206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9FBE2F9F-59B9-435C-9CBF-D3EC451EB0F4}"/>
                  </a:ext>
                </a:extLst>
              </p:cNvPr>
              <p:cNvSpPr txBox="1"/>
              <p:nvPr/>
            </p:nvSpPr>
            <p:spPr>
              <a:xfrm>
                <a:off x="3087172" y="5281809"/>
                <a:ext cx="904167" cy="4071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750" dirty="0">
                    <a:solidFill>
                      <a:srgbClr val="002060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Mercury Tabacos</a:t>
                </a:r>
                <a:endParaRPr lang="en-US" sz="750" dirty="0">
                  <a:solidFill>
                    <a:srgbClr val="00206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572532D-5669-46A5-AE18-FA59176A8B60}"/>
                  </a:ext>
                </a:extLst>
              </p:cNvPr>
              <p:cNvSpPr txBox="1"/>
              <p:nvPr/>
            </p:nvSpPr>
            <p:spPr>
              <a:xfrm>
                <a:off x="2309014" y="4071131"/>
                <a:ext cx="904167" cy="4071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750" dirty="0">
                    <a:solidFill>
                      <a:srgbClr val="002060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Tabacalera </a:t>
                </a:r>
              </a:p>
              <a:p>
                <a:pPr algn="ctr"/>
                <a:r>
                  <a:rPr lang="pt-BR" sz="750" dirty="0">
                    <a:solidFill>
                      <a:srgbClr val="002060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Hernandárias</a:t>
                </a:r>
                <a:endParaRPr lang="en-US" sz="750" dirty="0">
                  <a:solidFill>
                    <a:srgbClr val="00206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AD34FF56-6A78-4867-BF55-C2E51A8B91F3}"/>
                  </a:ext>
                </a:extLst>
              </p:cNvPr>
              <p:cNvSpPr txBox="1"/>
              <p:nvPr/>
            </p:nvSpPr>
            <p:spPr>
              <a:xfrm>
                <a:off x="3991338" y="4061530"/>
                <a:ext cx="1117386" cy="2617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750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Tabesa</a:t>
                </a:r>
                <a:endParaRPr lang="en-US" sz="75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3E110BA4-BF29-471B-A278-FDF44BF047DD}"/>
                  </a:ext>
                </a:extLst>
              </p:cNvPr>
              <p:cNvSpPr txBox="1"/>
              <p:nvPr/>
            </p:nvSpPr>
            <p:spPr>
              <a:xfrm>
                <a:off x="4547221" y="3531003"/>
                <a:ext cx="1117386" cy="2617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750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Tabesa</a:t>
                </a:r>
                <a:endParaRPr lang="en-US" sz="75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4E79BF5B-9AAC-4F61-A3F0-F8A7622952CC}"/>
                  </a:ext>
                </a:extLst>
              </p:cNvPr>
              <p:cNvSpPr txBox="1"/>
              <p:nvPr/>
            </p:nvSpPr>
            <p:spPr>
              <a:xfrm>
                <a:off x="2723608" y="2243176"/>
                <a:ext cx="1117386" cy="2617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750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Monte Paz</a:t>
                </a:r>
                <a:endParaRPr lang="en-US" sz="75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8001FFAA-CCEB-4582-8B92-3F9284AEA088}"/>
                  </a:ext>
                </a:extLst>
              </p:cNvPr>
              <p:cNvSpPr txBox="1"/>
              <p:nvPr/>
            </p:nvSpPr>
            <p:spPr>
              <a:xfrm>
                <a:off x="3702033" y="2612654"/>
                <a:ext cx="1461208" cy="4071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750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Tacalera </a:t>
                </a:r>
              </a:p>
              <a:p>
                <a:pPr algn="ctr"/>
                <a:r>
                  <a:rPr lang="pt-BR" sz="750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an Francisco</a:t>
                </a:r>
                <a:endParaRPr lang="en-US" sz="75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B32CC029-B63E-41BC-973F-A59A562CB4FE}"/>
                  </a:ext>
                </a:extLst>
              </p:cNvPr>
              <p:cNvSpPr txBox="1"/>
              <p:nvPr/>
            </p:nvSpPr>
            <p:spPr>
              <a:xfrm>
                <a:off x="5649380" y="2043726"/>
                <a:ext cx="904167" cy="2617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750" dirty="0">
                    <a:solidFill>
                      <a:srgbClr val="002060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Urion</a:t>
                </a:r>
                <a:endParaRPr lang="en-US" sz="750" dirty="0">
                  <a:solidFill>
                    <a:srgbClr val="00206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C8EF855D-7483-4EFA-B06A-1C5B26B8FF5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39828" y="1802380"/>
              <a:ext cx="503531" cy="759147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7D32E0D9-84BC-4637-B9FD-45602FD15D75}"/>
                </a:ext>
              </a:extLst>
            </p:cNvPr>
            <p:cNvSpPr txBox="1"/>
            <p:nvPr/>
          </p:nvSpPr>
          <p:spPr>
            <a:xfrm>
              <a:off x="4005193" y="1567673"/>
              <a:ext cx="1117386" cy="2617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750" dirty="0">
                  <a:solidFill>
                    <a:srgbClr val="00206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Tabesa</a:t>
              </a:r>
              <a:endParaRPr lang="en-US" sz="750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59551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Imagem 2" descr="image010">
            <a:extLst>
              <a:ext uri="{FF2B5EF4-FFF2-40B4-BE49-F238E27FC236}">
                <a16:creationId xmlns:a16="http://schemas.microsoft.com/office/drawing/2014/main" id="{82CFD2FD-F5D0-4CA3-8E69-C228C789C7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459" y="980728"/>
            <a:ext cx="7776864" cy="3648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D6AF9BA-ADA9-4B11-A733-146C113021E0}"/>
              </a:ext>
            </a:extLst>
          </p:cNvPr>
          <p:cNvSpPr/>
          <p:nvPr/>
        </p:nvSpPr>
        <p:spPr>
          <a:xfrm>
            <a:off x="179511" y="322601"/>
            <a:ext cx="864096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75"/>
              </a:spcBef>
            </a:pPr>
            <a:r>
              <a:rPr lang="en-GB" sz="2000" b="1" i="1" dirty="0" err="1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Cigarros</a:t>
            </a:r>
            <a:r>
              <a:rPr lang="en-GB" sz="2000" b="1" i="1" dirty="0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 – o </a:t>
            </a:r>
            <a:r>
              <a:rPr lang="en-GB" sz="2000" b="1" i="1" dirty="0" err="1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produto</a:t>
            </a:r>
            <a:r>
              <a:rPr lang="en-GB" sz="2000" b="1" i="1" dirty="0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 </a:t>
            </a:r>
            <a:r>
              <a:rPr lang="en-GB" sz="2000" b="1" i="1" dirty="0" err="1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mais</a:t>
            </a:r>
            <a:r>
              <a:rPr lang="en-GB" sz="2000" b="1" i="1" dirty="0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 </a:t>
            </a:r>
            <a:r>
              <a:rPr lang="en-GB" sz="2000" b="1" i="1" dirty="0" err="1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contrabandeado</a:t>
            </a:r>
            <a:r>
              <a:rPr lang="en-GB" sz="2000" b="1" i="1" dirty="0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 no </a:t>
            </a:r>
            <a:r>
              <a:rPr lang="en-GB" sz="2000" b="1" i="1" dirty="0" err="1">
                <a:solidFill>
                  <a:srgbClr val="002060"/>
                </a:solidFill>
                <a:latin typeface="Arial Black" panose="020B0A04020102020204" pitchFamily="34" charset="0"/>
                <a:cs typeface="Segoe UI Light" panose="020B0502040204020203" pitchFamily="34" charset="0"/>
              </a:rPr>
              <a:t>Brasil</a:t>
            </a:r>
            <a:endParaRPr lang="en-GB" sz="2000" b="1" i="1" dirty="0">
              <a:solidFill>
                <a:srgbClr val="002060"/>
              </a:solidFill>
              <a:latin typeface="Arial Black" panose="020B0A04020102020204" pitchFamily="34" charset="0"/>
              <a:cs typeface="Segoe UI Light" panose="020B0502040204020203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4EBD4DA-54F5-47A4-9C44-D56CB2C89D9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9524" b="89881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6057" b="15886"/>
          <a:stretch/>
        </p:blipFill>
        <p:spPr>
          <a:xfrm>
            <a:off x="251520" y="4800131"/>
            <a:ext cx="864096" cy="863109"/>
          </a:xfrm>
          <a:prstGeom prst="ellipse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F672BCC-AA70-4ECD-939B-7F0E7C98EF87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4739677"/>
            <a:ext cx="1730728" cy="1149011"/>
          </a:xfrm>
          <a:prstGeom prst="rect">
            <a:avLst/>
          </a:prstGeom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 descr="Screen Clipping">
            <a:extLst>
              <a:ext uri="{FF2B5EF4-FFF2-40B4-BE49-F238E27FC236}">
                <a16:creationId xmlns:a16="http://schemas.microsoft.com/office/drawing/2014/main" id="{47AC5874-0A15-45F6-A5A6-E6D48332296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072" y="4739677"/>
            <a:ext cx="1755095" cy="112621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 descr="Screen Clipping">
            <a:extLst>
              <a:ext uri="{FF2B5EF4-FFF2-40B4-BE49-F238E27FC236}">
                <a16:creationId xmlns:a16="http://schemas.microsoft.com/office/drawing/2014/main" id="{8BF85D36-6365-4EBC-91ED-85F9957AD46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4035" y="4739677"/>
            <a:ext cx="1739848" cy="114901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CaixaDeTexto 2"/>
          <p:cNvSpPr txBox="1"/>
          <p:nvPr/>
        </p:nvSpPr>
        <p:spPr>
          <a:xfrm>
            <a:off x="172552" y="6453336"/>
            <a:ext cx="72008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b="1" dirty="0">
                <a:solidFill>
                  <a:srgbClr val="002060"/>
                </a:solidFill>
              </a:rPr>
              <a:t>Fonte: Receita Federal</a:t>
            </a:r>
            <a:endParaRPr lang="en-US" sz="1100" b="1" dirty="0">
              <a:solidFill>
                <a:srgbClr val="002060"/>
              </a:solidFill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01312" y="4742541"/>
            <a:ext cx="1902117" cy="1146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9572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creen Clipping">
            <a:extLst>
              <a:ext uri="{FF2B5EF4-FFF2-40B4-BE49-F238E27FC236}">
                <a16:creationId xmlns:a16="http://schemas.microsoft.com/office/drawing/2014/main" id="{646CC7F7-5361-419B-B9A1-25A6E88E2E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16" y="1124810"/>
            <a:ext cx="3896528" cy="711542"/>
          </a:xfrm>
          <a:prstGeom prst="rect">
            <a:avLst/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AB49854-2D6D-4923-AF24-D13420471FE4}"/>
              </a:ext>
            </a:extLst>
          </p:cNvPr>
          <p:cNvSpPr/>
          <p:nvPr/>
        </p:nvSpPr>
        <p:spPr>
          <a:xfrm>
            <a:off x="230101" y="1847248"/>
            <a:ext cx="391344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>
                <a:hlinkClick r:id="rId4"/>
              </a:rPr>
              <a:t>http://www.campograndenews.com.br/cidades/interior/policial-e-membros-do-pcc-cuidavam-de-carga-de-cigarro-na-fronteira</a:t>
            </a:r>
            <a:r>
              <a:rPr lang="en-US" sz="700" dirty="0"/>
              <a:t> </a:t>
            </a:r>
          </a:p>
        </p:txBody>
      </p:sp>
      <p:pic>
        <p:nvPicPr>
          <p:cNvPr id="9" name="Picture 8" descr="Screen Clipping">
            <a:extLst>
              <a:ext uri="{FF2B5EF4-FFF2-40B4-BE49-F238E27FC236}">
                <a16:creationId xmlns:a16="http://schemas.microsoft.com/office/drawing/2014/main" id="{C10B3168-87C7-4583-9AE3-DF1FE8CE5E5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16" y="2505887"/>
            <a:ext cx="3643703" cy="750494"/>
          </a:xfrm>
          <a:prstGeom prst="rect">
            <a:avLst/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F184D3E-1624-4853-896D-566635C80753}"/>
              </a:ext>
            </a:extLst>
          </p:cNvPr>
          <p:cNvSpPr/>
          <p:nvPr/>
        </p:nvSpPr>
        <p:spPr>
          <a:xfrm>
            <a:off x="193347" y="3265239"/>
            <a:ext cx="369737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>
                <a:hlinkClick r:id="rId6"/>
              </a:rPr>
              <a:t>https://noticias.r7.com/cidades/faccoes-criminosas-assumem-contrabando-na-fronteira-e-brasil-tem-prejuizo-de-r-115-bilhoes-29082016</a:t>
            </a:r>
            <a:r>
              <a:rPr lang="en-US" sz="700" dirty="0"/>
              <a:t> </a:t>
            </a:r>
          </a:p>
        </p:txBody>
      </p:sp>
      <p:pic>
        <p:nvPicPr>
          <p:cNvPr id="13" name="Picture 12" descr="Screen Clipping">
            <a:extLst>
              <a:ext uri="{FF2B5EF4-FFF2-40B4-BE49-F238E27FC236}">
                <a16:creationId xmlns:a16="http://schemas.microsoft.com/office/drawing/2014/main" id="{E79D832E-6754-4CBF-9C32-0574CFA6E7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9614" y="1124744"/>
            <a:ext cx="3767569" cy="734705"/>
          </a:xfrm>
          <a:prstGeom prst="rect">
            <a:avLst/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838F9637-5770-4F45-AC0B-580F3F5EBFDD}"/>
              </a:ext>
            </a:extLst>
          </p:cNvPr>
          <p:cNvSpPr/>
          <p:nvPr/>
        </p:nvSpPr>
        <p:spPr>
          <a:xfrm>
            <a:off x="4739613" y="1884614"/>
            <a:ext cx="4572000" cy="20005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700" dirty="0">
                <a:hlinkClick r:id="rId8"/>
              </a:rPr>
              <a:t>http://abcf.org.br/editorial-quem-compra-contrabando-prejudica-o-pais-e-financia-o-pcc/</a:t>
            </a:r>
            <a:r>
              <a:rPr lang="en-US" sz="700" dirty="0"/>
              <a:t> 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ED5624B-82CA-402F-ADC2-90B8058D5138}"/>
              </a:ext>
            </a:extLst>
          </p:cNvPr>
          <p:cNvSpPr/>
          <p:nvPr/>
        </p:nvSpPr>
        <p:spPr>
          <a:xfrm>
            <a:off x="2363665" y="1167956"/>
            <a:ext cx="524492" cy="35486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57D6D479-D8DC-4F3F-A6DA-BB6913BF2E83}"/>
              </a:ext>
            </a:extLst>
          </p:cNvPr>
          <p:cNvSpPr/>
          <p:nvPr/>
        </p:nvSpPr>
        <p:spPr>
          <a:xfrm>
            <a:off x="5977028" y="1506246"/>
            <a:ext cx="473528" cy="332762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CaixaDeTexto 6">
            <a:extLst>
              <a:ext uri="{FF2B5EF4-FFF2-40B4-BE49-F238E27FC236}">
                <a16:creationId xmlns:a16="http://schemas.microsoft.com/office/drawing/2014/main" id="{20E9615C-C5CF-4CA4-A18A-FD9663C3B6F0}"/>
              </a:ext>
            </a:extLst>
          </p:cNvPr>
          <p:cNvSpPr txBox="1"/>
          <p:nvPr/>
        </p:nvSpPr>
        <p:spPr>
          <a:xfrm>
            <a:off x="193347" y="188640"/>
            <a:ext cx="84111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spcBef>
                <a:spcPts val="375"/>
              </a:spcBef>
              <a:defRPr sz="2800" b="1" i="1">
                <a:solidFill>
                  <a:srgbClr val="002060"/>
                </a:solidFill>
                <a:latin typeface="+mj-lt"/>
                <a:cs typeface="Segoe UI Light" panose="020B0502040204020203" pitchFamily="34" charset="0"/>
              </a:defRPr>
            </a:lvl1pPr>
          </a:lstStyle>
          <a:p>
            <a:r>
              <a:rPr lang="en-US" dirty="0" err="1">
                <a:latin typeface="Arial Black" panose="020B0A04020102020204" pitchFamily="34" charset="0"/>
              </a:rPr>
              <a:t>Contrabando</a:t>
            </a:r>
            <a:r>
              <a:rPr lang="en-US" dirty="0">
                <a:latin typeface="Arial Black" panose="020B0A04020102020204" pitchFamily="34" charset="0"/>
              </a:rPr>
              <a:t> </a:t>
            </a:r>
            <a:r>
              <a:rPr lang="en-US" dirty="0" err="1">
                <a:latin typeface="Arial Black" panose="020B0A04020102020204" pitchFamily="34" charset="0"/>
              </a:rPr>
              <a:t>financia</a:t>
            </a:r>
            <a:r>
              <a:rPr lang="en-US" dirty="0">
                <a:latin typeface="Arial Black" panose="020B0A04020102020204" pitchFamily="34" charset="0"/>
              </a:rPr>
              <a:t> crime </a:t>
            </a:r>
            <a:r>
              <a:rPr lang="en-US" dirty="0" err="1">
                <a:latin typeface="Arial Black" panose="020B0A04020102020204" pitchFamily="34" charset="0"/>
              </a:rPr>
              <a:t>organizado</a:t>
            </a:r>
            <a:endParaRPr lang="en-US" dirty="0">
              <a:latin typeface="Arial Black" panose="020B0A04020102020204" pitchFamily="34" charset="0"/>
            </a:endParaRPr>
          </a:p>
        </p:txBody>
      </p:sp>
      <p:pic>
        <p:nvPicPr>
          <p:cNvPr id="3" name="Picture 2" descr="Screen Clipping">
            <a:extLst>
              <a:ext uri="{FF2B5EF4-FFF2-40B4-BE49-F238E27FC236}">
                <a16:creationId xmlns:a16="http://schemas.microsoft.com/office/drawing/2014/main" id="{DEB15CB8-847F-4686-B631-11042A3DCD3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9992" y="2591666"/>
            <a:ext cx="4246811" cy="555840"/>
          </a:xfrm>
          <a:prstGeom prst="rect">
            <a:avLst/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5DD6731-9508-432D-997E-7E911EF3E7A2}"/>
              </a:ext>
            </a:extLst>
          </p:cNvPr>
          <p:cNvSpPr/>
          <p:nvPr/>
        </p:nvSpPr>
        <p:spPr>
          <a:xfrm>
            <a:off x="4499991" y="3190218"/>
            <a:ext cx="424681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>
                <a:hlinkClick r:id="rId10"/>
              </a:rPr>
              <a:t>https://g1.globo.com/sc/santa-catarina/noticia/reportagem-revela-como-contrabando-de-cigarro-financia-o-trafico-de-drogas-e-armas.ghtml</a:t>
            </a:r>
            <a:r>
              <a:rPr lang="en-US" sz="700" dirty="0"/>
              <a:t> 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501006" y="3879723"/>
            <a:ext cx="3712786" cy="2481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7299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9Sw9q17Umia0wcTZkzX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89</Words>
  <PresentationFormat>Apresentação na tela (4:3)</PresentationFormat>
  <Paragraphs>123</Paragraphs>
  <Slides>17</Slides>
  <Notes>10</Notes>
  <HiddenSlides>0</HiddenSlides>
  <MMClips>0</MMClips>
  <ScaleCrop>false</ScaleCrop>
  <HeadingPairs>
    <vt:vector size="8" baseType="variant">
      <vt:variant>
        <vt:lpstr>Fontes usadas</vt:lpstr>
      </vt:variant>
      <vt:variant>
        <vt:i4>9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7</vt:i4>
      </vt:variant>
    </vt:vector>
  </HeadingPairs>
  <TitlesOfParts>
    <vt:vector size="29" baseType="lpstr">
      <vt:lpstr>Arial</vt:lpstr>
      <vt:lpstr>Arial Black</vt:lpstr>
      <vt:lpstr>Calibri</vt:lpstr>
      <vt:lpstr>Calibri Light</vt:lpstr>
      <vt:lpstr>Gill Sans</vt:lpstr>
      <vt:lpstr>Segoe UI</vt:lpstr>
      <vt:lpstr>Segoe UI Light</vt:lpstr>
      <vt:lpstr>StoneSans</vt:lpstr>
      <vt:lpstr>Wingdings</vt:lpstr>
      <vt:lpstr>Office Theme</vt:lpstr>
      <vt:lpstr>Tema do Office</vt:lpstr>
      <vt:lpstr>Bitmap Imag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No Paraguai, as medidas regulatórias não são contundentes</vt:lpstr>
      <vt:lpstr>Apresentação do PowerPoint</vt:lpstr>
      <vt:lpstr>Apresentação do PowerPoint</vt:lpstr>
      <vt:lpstr>Apresentação do PowerPoint</vt:lpstr>
      <vt:lpstr>Na Austrália, medidas como embalagens genéricas já se mostraram uma catástrofe</vt:lpstr>
      <vt:lpstr>FI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dcterms:created xsi:type="dcterms:W3CDTF">2014-11-25T14:35:16Z</dcterms:created>
  <dcterms:modified xsi:type="dcterms:W3CDTF">2018-11-21T11:57:36Z</dcterms:modified>
</cp:coreProperties>
</file>